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20"/>
  </p:notesMasterIdLst>
  <p:sldIdLst>
    <p:sldId id="313" r:id="rId2"/>
    <p:sldId id="357" r:id="rId3"/>
    <p:sldId id="720" r:id="rId4"/>
    <p:sldId id="710" r:id="rId5"/>
    <p:sldId id="736" r:id="rId6"/>
    <p:sldId id="719" r:id="rId7"/>
    <p:sldId id="726" r:id="rId8"/>
    <p:sldId id="722" r:id="rId9"/>
    <p:sldId id="728" r:id="rId10"/>
    <p:sldId id="737" r:id="rId11"/>
    <p:sldId id="738" r:id="rId12"/>
    <p:sldId id="739" r:id="rId13"/>
    <p:sldId id="740" r:id="rId14"/>
    <p:sldId id="741" r:id="rId15"/>
    <p:sldId id="742" r:id="rId16"/>
    <p:sldId id="743" r:id="rId17"/>
    <p:sldId id="721" r:id="rId18"/>
    <p:sldId id="744" r:id="rId19"/>
  </p:sldIdLst>
  <p:sldSz cx="9144000" cy="5143500" type="screen16x9"/>
  <p:notesSz cx="6797675" cy="9928225"/>
  <p:defaultTextStyle>
    <a:defPPr>
      <a:defRPr lang="ru-RU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73" userDrawn="1">
          <p15:clr>
            <a:srgbClr val="A4A3A4"/>
          </p15:clr>
        </p15:guide>
        <p15:guide id="2" pos="4876" userDrawn="1">
          <p15:clr>
            <a:srgbClr val="A4A3A4"/>
          </p15:clr>
        </p15:guide>
        <p15:guide id="3" pos="22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3A2C"/>
    <a:srgbClr val="B7EEC3"/>
    <a:srgbClr val="FFFCB9"/>
    <a:srgbClr val="FFD7D6"/>
    <a:srgbClr val="FF929D"/>
    <a:srgbClr val="FFF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53" autoAdjust="0"/>
    <p:restoredTop sz="94643" autoAdjust="0"/>
  </p:normalViewPr>
  <p:slideViewPr>
    <p:cSldViewPr snapToGrid="0" snapToObjects="1" showGuides="1">
      <p:cViewPr varScale="1">
        <p:scale>
          <a:sx n="149" d="100"/>
          <a:sy n="149" d="100"/>
        </p:scale>
        <p:origin x="174" y="114"/>
      </p:cViewPr>
      <p:guideLst>
        <p:guide orient="horz" pos="2573"/>
        <p:guide pos="4876"/>
        <p:guide pos="226"/>
      </p:guideLst>
    </p:cSldViewPr>
  </p:slideViewPr>
  <p:outlineViewPr>
    <p:cViewPr>
      <p:scale>
        <a:sx n="33" d="100"/>
        <a:sy n="33" d="100"/>
      </p:scale>
      <p:origin x="42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13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27981-20A4-C646-B1BB-D1739739EFAC}" type="datetimeFigureOut">
              <a:rPr lang="ru-RU" smtClean="0"/>
              <a:t>27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48C10B-A687-2047-8793-B2B512C1C03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8626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48C10B-A687-2047-8793-B2B512C1C033}" type="slidenum">
              <a:rPr lang="ru-RU" smtClean="0"/>
              <a:t>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56103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3902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0344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3772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7664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8097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9753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4821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20575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57198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52D2A5B-4948-EB4B-9C68-CECE3A130BB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2770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Чтобы добавить рисунок, перетащите его в заполнитель или щелкните знач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915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3323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4943137"/>
            <a:ext cx="9144000" cy="228600"/>
          </a:xfrm>
          <a:prstGeom prst="rect">
            <a:avLst/>
          </a:prstGeom>
          <a:solidFill>
            <a:srgbClr val="2A7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832600" y="487487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685800" rtl="0" eaLnBrk="1" latinLnBrk="0" hangingPunct="1">
              <a:defRPr sz="1200" b="1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0D5ECE-8B49-45CD-BE81-EF81920D19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" y="-20538"/>
            <a:ext cx="9144000" cy="1086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4795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 baseline="0">
          <a:solidFill>
            <a:schemeClr val="accent6">
              <a:lumMod val="75000"/>
            </a:schemeClr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7" Type="http://schemas.openxmlformats.org/officeDocument/2006/relationships/image" Target="../media/image15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22.emf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tbo.mosreg.ru/kalkulyator-rascheta-oplaty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19883" y="1204565"/>
            <a:ext cx="7104233" cy="2233960"/>
          </a:xfr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/>
            </a:solidFill>
          </a:ln>
        </p:spPr>
        <p:txBody>
          <a:bodyPr anchor="ctr">
            <a:noAutofit/>
          </a:bodyPr>
          <a:lstStyle/>
          <a:p>
            <a:r>
              <a:rPr lang="ru-RU" sz="3000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Тарифы </a:t>
            </a:r>
            <a:r>
              <a:rPr lang="ru-RU" sz="3000" b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региональных операторов в </a:t>
            </a:r>
            <a:r>
              <a:rPr lang="ru-RU" sz="3000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Московской </a:t>
            </a:r>
            <a:r>
              <a:rPr lang="ru-RU" sz="3000" b="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области</a:t>
            </a:r>
            <a:endParaRPr lang="ru-RU" sz="3000" b="0" dirty="0">
              <a:solidFill>
                <a:schemeClr val="accent6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2999" y="3765902"/>
            <a:ext cx="6858000" cy="453700"/>
          </a:xfrm>
        </p:spPr>
        <p:txBody>
          <a:bodyPr anchor="ctr"/>
          <a:lstStyle/>
          <a:p>
            <a:r>
              <a:rPr lang="ru-RU" sz="1600" dirty="0">
                <a:latin typeface="Arial" charset="0"/>
                <a:ea typeface="Arial" charset="0"/>
                <a:cs typeface="Arial" charset="0"/>
              </a:rPr>
              <a:t>27 февраля 2019 год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" y="4943137"/>
            <a:ext cx="9144000" cy="228600"/>
          </a:xfrm>
          <a:prstGeom prst="rect">
            <a:avLst/>
          </a:prstGeom>
          <a:solidFill>
            <a:srgbClr val="2A7A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" y="-20538"/>
            <a:ext cx="9144000" cy="10867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54265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90ED7B6-6ED2-6F45-9529-34CC4C22A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664797"/>
          </a:xfrm>
        </p:spPr>
        <p:txBody>
          <a:bodyPr/>
          <a:lstStyle/>
          <a:p>
            <a:r>
              <a:rPr lang="ru-RU" dirty="0"/>
              <a:t>3. Дополнительная скидка для жителей вблизи объектов обращения ТКО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C37A9428-7501-3545-8051-26FA3B3865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750375"/>
              </p:ext>
            </p:extLst>
          </p:nvPr>
        </p:nvGraphicFramePr>
        <p:xfrm>
          <a:off x="920794" y="1537038"/>
          <a:ext cx="5472996" cy="1583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37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592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61133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</a:rPr>
                        <a:t>Объекты обращения ТКО на территории МО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Количество на территории МО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в 2019 г.</a:t>
                      </a: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113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омплексы по переработке отходов (КПО)</a:t>
                      </a:r>
                      <a:endParaRPr lang="ru-RU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5112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</a:rPr>
                        <a:t>Действующие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полигоны</a:t>
                      </a:r>
                      <a:endParaRPr lang="ru-RU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xmlns="" id="{67A3EA9F-A19F-2845-921C-EC722A5B17D0}"/>
              </a:ext>
            </a:extLst>
          </p:cNvPr>
          <p:cNvSpPr/>
          <p:nvPr/>
        </p:nvSpPr>
        <p:spPr>
          <a:xfrm>
            <a:off x="990817" y="3250829"/>
            <a:ext cx="6419633" cy="945716"/>
          </a:xfrm>
          <a:prstGeom prst="roundRect">
            <a:avLst>
              <a:gd name="adj" fmla="val 11184"/>
            </a:avLst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rIns="36000" anchor="ctr">
            <a:noAutofit/>
          </a:bodyPr>
          <a:lstStyle/>
          <a:p>
            <a:pPr algn="ctr">
              <a:spcBef>
                <a:spcPts val="488"/>
              </a:spcBef>
              <a:buClr>
                <a:schemeClr val="accent6">
                  <a:lumMod val="75000"/>
                </a:schemeClr>
              </a:buClr>
            </a:pPr>
            <a:r>
              <a:rPr lang="ru-RU" sz="1800" b="1" i="1" dirty="0" smtClean="0">
                <a:solidFill>
                  <a:schemeClr val="accent6">
                    <a:lumMod val="50000"/>
                  </a:schemeClr>
                </a:solidFill>
              </a:rPr>
              <a:t>Все, кто проживает в радиусе 2 км от КПО или полигона, получает дополнительную скидку - </a:t>
            </a:r>
            <a:r>
              <a:rPr lang="ru-RU" sz="1800" b="1" i="1" dirty="0">
                <a:solidFill>
                  <a:schemeClr val="accent6">
                    <a:lumMod val="50000"/>
                  </a:schemeClr>
                </a:solidFill>
              </a:rPr>
              <a:t>70% </a:t>
            </a:r>
          </a:p>
        </p:txBody>
      </p:sp>
    </p:spTree>
    <p:extLst>
      <p:ext uri="{BB962C8B-B14F-4D97-AF65-F5344CB8AC3E}">
        <p14:creationId xmlns:p14="http://schemas.microsoft.com/office/powerpoint/2010/main" val="365656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Скругленный прямоугольник 34">
            <a:extLst>
              <a:ext uri="{FF2B5EF4-FFF2-40B4-BE49-F238E27FC236}">
                <a16:creationId xmlns:a16="http://schemas.microsoft.com/office/drawing/2014/main" xmlns="" id="{2F39F13C-FE4A-014C-8E90-FA510725FD95}"/>
              </a:ext>
            </a:extLst>
          </p:cNvPr>
          <p:cNvSpPr/>
          <p:nvPr/>
        </p:nvSpPr>
        <p:spPr>
          <a:xfrm>
            <a:off x="1228725" y="1061506"/>
            <a:ext cx="6618764" cy="342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9E18057-45BF-1C49-94C1-2DA8C1EAC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664797"/>
          </a:xfrm>
        </p:spPr>
        <p:txBody>
          <a:bodyPr/>
          <a:lstStyle/>
          <a:p>
            <a:r>
              <a:rPr lang="ru-RU" dirty="0"/>
              <a:t>Плата жителей с 01.01.2019 за ЖКУ </a:t>
            </a:r>
            <a:br>
              <a:rPr lang="ru-RU" dirty="0"/>
            </a:br>
            <a:r>
              <a:rPr lang="ru-RU" dirty="0"/>
              <a:t>на примере Волоколамского м.р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DD094A47-B849-CC44-9F14-ECAF3AC210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8335" y="2041832"/>
            <a:ext cx="3793184" cy="2223663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8B77CAD-9DDA-6E4A-BCE5-3E2B3378A489}"/>
              </a:ext>
            </a:extLst>
          </p:cNvPr>
          <p:cNvSpPr/>
          <p:nvPr/>
        </p:nvSpPr>
        <p:spPr>
          <a:xfrm>
            <a:off x="240358" y="4291056"/>
            <a:ext cx="8512692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13" dirty="0">
                <a:cs typeface="Times New Roman" panose="02020603050405020304" pitchFamily="18" charset="0"/>
              </a:rPr>
              <a:t>Стоимость услуги за вывоз мусора исключена с 01.01.2019 из платы за «Содержание Ж/Ф» Постановлением Главы Волоколамского </a:t>
            </a:r>
            <a:r>
              <a:rPr lang="ru-RU" sz="1013" dirty="0" err="1">
                <a:cs typeface="Times New Roman" panose="02020603050405020304" pitchFamily="18" charset="0"/>
              </a:rPr>
              <a:t>м.р</a:t>
            </a:r>
            <a:r>
              <a:rPr lang="ru-RU" sz="1013" dirty="0">
                <a:cs typeface="Times New Roman" panose="02020603050405020304" pitchFamily="18" charset="0"/>
              </a:rPr>
              <a:t>. от 23.11.2018 №140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5CCC73E-A3D4-D64D-AFB3-B1F8737E3AEA}"/>
              </a:ext>
            </a:extLst>
          </p:cNvPr>
          <p:cNvSpPr txBox="1"/>
          <p:nvPr/>
        </p:nvSpPr>
        <p:spPr>
          <a:xfrm>
            <a:off x="1844027" y="1048119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cs typeface="Times New Roman" panose="02020603050405020304" pitchFamily="18" charset="0"/>
              </a:rPr>
              <a:t>Рост платы в ЕПД относительно декабря 2018 – 2,3%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ACBB2CE-BC46-5645-8202-F20844665537}"/>
              </a:ext>
            </a:extLst>
          </p:cNvPr>
          <p:cNvSpPr txBox="1"/>
          <p:nvPr/>
        </p:nvSpPr>
        <p:spPr>
          <a:xfrm>
            <a:off x="7847489" y="1692925"/>
            <a:ext cx="1170710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dirty="0">
                <a:solidFill>
                  <a:srgbClr val="FF0000"/>
                </a:solidFill>
                <a:cs typeface="Times New Roman" panose="02020603050405020304" pitchFamily="18" charset="0"/>
              </a:rPr>
              <a:t>Январь 201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FAD64A8-C21A-0540-8055-AAED888F0C18}"/>
              </a:ext>
            </a:extLst>
          </p:cNvPr>
          <p:cNvSpPr txBox="1"/>
          <p:nvPr/>
        </p:nvSpPr>
        <p:spPr>
          <a:xfrm>
            <a:off x="240359" y="1689108"/>
            <a:ext cx="1840851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dirty="0">
                <a:solidFill>
                  <a:srgbClr val="FF0000"/>
                </a:solidFill>
                <a:cs typeface="Times New Roman" panose="02020603050405020304" pitchFamily="18" charset="0"/>
              </a:rPr>
              <a:t>Декабрь 2018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81D3FDF-E813-D04D-96D5-D3384988255B}"/>
              </a:ext>
            </a:extLst>
          </p:cNvPr>
          <p:cNvSpPr txBox="1"/>
          <p:nvPr/>
        </p:nvSpPr>
        <p:spPr>
          <a:xfrm>
            <a:off x="2139143" y="1640079"/>
            <a:ext cx="6523764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b="1" dirty="0">
                <a:cs typeface="Times New Roman" panose="02020603050405020304" pitchFamily="18" charset="0"/>
              </a:rPr>
              <a:t>Волоколамский </a:t>
            </a:r>
            <a:r>
              <a:rPr lang="ru-RU" sz="1013" b="1" dirty="0" err="1">
                <a:cs typeface="Times New Roman" panose="02020603050405020304" pitchFamily="18" charset="0"/>
              </a:rPr>
              <a:t>м.р</a:t>
            </a:r>
            <a:r>
              <a:rPr lang="ru-RU" sz="1013" b="1" dirty="0">
                <a:cs typeface="Times New Roman" panose="02020603050405020304" pitchFamily="18" charset="0"/>
              </a:rPr>
              <a:t>., с. Теряево, ул. Морских Пехотинцев д.10. 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5D7D189C-C9BA-C642-B8A6-CF12F23E74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5898" y="2062270"/>
            <a:ext cx="4825620" cy="219925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8397A1BF-970C-544D-85D8-5E334C3A19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2900" y="3569686"/>
            <a:ext cx="267368" cy="8173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0ED293E-06D6-084D-95C3-86A53486B4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2848" y="3553404"/>
            <a:ext cx="359224" cy="9801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ACD3EFB-3949-6F41-9597-F85C2B024B64}"/>
              </a:ext>
            </a:extLst>
          </p:cNvPr>
          <p:cNvSpPr txBox="1"/>
          <p:nvPr/>
        </p:nvSpPr>
        <p:spPr>
          <a:xfrm>
            <a:off x="3093825" y="3510079"/>
            <a:ext cx="31543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50" dirty="0"/>
              <a:t>4,40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2775A75D-BB89-EF46-A813-BC65CD6277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9233" y="3552568"/>
            <a:ext cx="362287" cy="9885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71A9BE89-58E9-5448-9E5C-648A5A2AF83F}"/>
              </a:ext>
            </a:extLst>
          </p:cNvPr>
          <p:cNvSpPr txBox="1"/>
          <p:nvPr/>
        </p:nvSpPr>
        <p:spPr>
          <a:xfrm>
            <a:off x="3673018" y="3518220"/>
            <a:ext cx="41569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50" dirty="0"/>
              <a:t>209.98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720BD198-12BF-C043-898E-B86B74CD45E4}"/>
              </a:ext>
            </a:extLst>
          </p:cNvPr>
          <p:cNvCxnSpPr>
            <a:cxnSpLocks/>
          </p:cNvCxnSpPr>
          <p:nvPr/>
        </p:nvCxnSpPr>
        <p:spPr>
          <a:xfrm flipV="1">
            <a:off x="240358" y="2489887"/>
            <a:ext cx="3801161" cy="3009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23D2CE10-6989-1B42-A7AC-426F7ED01D45}"/>
              </a:ext>
            </a:extLst>
          </p:cNvPr>
          <p:cNvCxnSpPr>
            <a:cxnSpLocks/>
          </p:cNvCxnSpPr>
          <p:nvPr/>
        </p:nvCxnSpPr>
        <p:spPr>
          <a:xfrm flipV="1">
            <a:off x="240358" y="2644346"/>
            <a:ext cx="3801161" cy="3464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4042E420-9C35-1849-BFCE-76DECE38A98B}"/>
              </a:ext>
            </a:extLst>
          </p:cNvPr>
          <p:cNvCxnSpPr>
            <a:cxnSpLocks/>
          </p:cNvCxnSpPr>
          <p:nvPr/>
        </p:nvCxnSpPr>
        <p:spPr>
          <a:xfrm flipV="1">
            <a:off x="4135898" y="2588740"/>
            <a:ext cx="4825620" cy="6179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99EB2FB3-B704-7041-8F8E-BF70D15E64D6}"/>
              </a:ext>
            </a:extLst>
          </p:cNvPr>
          <p:cNvCxnSpPr>
            <a:cxnSpLocks/>
          </p:cNvCxnSpPr>
          <p:nvPr/>
        </p:nvCxnSpPr>
        <p:spPr>
          <a:xfrm flipV="1">
            <a:off x="4135898" y="2749380"/>
            <a:ext cx="4825620" cy="6178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8890B902-CD50-D442-995B-0C79A8E4380B}"/>
              </a:ext>
            </a:extLst>
          </p:cNvPr>
          <p:cNvCxnSpPr>
            <a:cxnSpLocks/>
          </p:cNvCxnSpPr>
          <p:nvPr/>
        </p:nvCxnSpPr>
        <p:spPr>
          <a:xfrm flipV="1">
            <a:off x="4135898" y="3818238"/>
            <a:ext cx="4825620" cy="1937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85E363C9-E120-F246-BEEB-3D3F4A4B6800}"/>
              </a:ext>
            </a:extLst>
          </p:cNvPr>
          <p:cNvCxnSpPr>
            <a:cxnSpLocks/>
          </p:cNvCxnSpPr>
          <p:nvPr/>
        </p:nvCxnSpPr>
        <p:spPr>
          <a:xfrm>
            <a:off x="4135898" y="3967248"/>
            <a:ext cx="4825620" cy="545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6E82EFFF-B4CB-1349-A019-C72DC831BE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02900" y="2381637"/>
            <a:ext cx="267368" cy="81736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8764D615-514A-C744-9BDE-2CA0EB7D40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02848" y="2365355"/>
            <a:ext cx="359224" cy="9801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9A2A0FF-17DD-B549-AB8D-0A0DC242A3BD}"/>
              </a:ext>
            </a:extLst>
          </p:cNvPr>
          <p:cNvSpPr txBox="1"/>
          <p:nvPr/>
        </p:nvSpPr>
        <p:spPr>
          <a:xfrm>
            <a:off x="3093825" y="2322030"/>
            <a:ext cx="31543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50" dirty="0"/>
              <a:t>1.90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EDC7BD4B-4544-0A48-83E5-81DCFB72A3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9233" y="2364519"/>
            <a:ext cx="362287" cy="98854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508D6268-D700-0349-9B21-6C78695A1933}"/>
              </a:ext>
            </a:extLst>
          </p:cNvPr>
          <p:cNvSpPr txBox="1"/>
          <p:nvPr/>
        </p:nvSpPr>
        <p:spPr>
          <a:xfrm>
            <a:off x="3673018" y="2330172"/>
            <a:ext cx="415691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50" dirty="0"/>
              <a:t>90,06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1794700F-91DB-1F43-A804-E88D23FEF4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31552" y="2392081"/>
            <a:ext cx="307592" cy="65945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AE4DCC52-D79E-954A-826A-C8BA4E7A88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4026" y="3574714"/>
            <a:ext cx="307592" cy="65945"/>
          </a:xfrm>
          <a:prstGeom prst="rect">
            <a:avLst/>
          </a:prstGeom>
        </p:spPr>
      </p:pic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0B436EE3-8482-9947-860C-94974F2C58A5}"/>
              </a:ext>
            </a:extLst>
          </p:cNvPr>
          <p:cNvCxnSpPr>
            <a:cxnSpLocks/>
          </p:cNvCxnSpPr>
          <p:nvPr/>
        </p:nvCxnSpPr>
        <p:spPr>
          <a:xfrm flipV="1">
            <a:off x="248335" y="3526055"/>
            <a:ext cx="3793184" cy="178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86BB4EC6-EE5E-DE4B-B85E-6BC00AB0A961}"/>
              </a:ext>
            </a:extLst>
          </p:cNvPr>
          <p:cNvCxnSpPr>
            <a:cxnSpLocks/>
          </p:cNvCxnSpPr>
          <p:nvPr/>
        </p:nvCxnSpPr>
        <p:spPr>
          <a:xfrm>
            <a:off x="240358" y="3671520"/>
            <a:ext cx="3801161" cy="690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xmlns="" id="{BBC9640B-61B9-3D40-B416-257428392872}"/>
              </a:ext>
            </a:extLst>
          </p:cNvPr>
          <p:cNvCxnSpPr>
            <a:cxnSpLocks/>
          </p:cNvCxnSpPr>
          <p:nvPr/>
        </p:nvCxnSpPr>
        <p:spPr>
          <a:xfrm>
            <a:off x="281417" y="2344421"/>
            <a:ext cx="3764140" cy="754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xmlns="" id="{6FE9F39D-0E63-9F4A-B777-91DACF14B1C8}"/>
              </a:ext>
            </a:extLst>
          </p:cNvPr>
          <p:cNvCxnSpPr>
            <a:cxnSpLocks/>
          </p:cNvCxnSpPr>
          <p:nvPr/>
        </p:nvCxnSpPr>
        <p:spPr>
          <a:xfrm flipV="1">
            <a:off x="248164" y="2473563"/>
            <a:ext cx="3793355" cy="396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1878C10E-D209-9D4C-87D7-24419743D0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8188" y="3269530"/>
            <a:ext cx="807710" cy="9687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8BF6A894-11B0-6140-997F-39F0D00500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48186" y="3307475"/>
            <a:ext cx="807710" cy="96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2515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A43CC89-4362-414C-B210-04D51B479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332399"/>
          </a:xfrm>
        </p:spPr>
        <p:txBody>
          <a:bodyPr/>
          <a:lstStyle/>
          <a:p>
            <a:r>
              <a:rPr lang="ru-RU" dirty="0"/>
              <a:t>Плата жителей с 01.01.2019 за ЖКУ на примере г.о. Чехов</a:t>
            </a: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xmlns="" id="{69B6818E-2E84-2944-BC51-13902D59D23B}"/>
              </a:ext>
            </a:extLst>
          </p:cNvPr>
          <p:cNvSpPr/>
          <p:nvPr/>
        </p:nvSpPr>
        <p:spPr>
          <a:xfrm>
            <a:off x="1228725" y="952270"/>
            <a:ext cx="6618764" cy="342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A2750B5-37E2-A443-812F-0D26701C2EC4}"/>
              </a:ext>
            </a:extLst>
          </p:cNvPr>
          <p:cNvSpPr txBox="1"/>
          <p:nvPr/>
        </p:nvSpPr>
        <p:spPr>
          <a:xfrm>
            <a:off x="1844027" y="938883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cs typeface="Times New Roman" panose="02020603050405020304" pitchFamily="18" charset="0"/>
              </a:rPr>
              <a:t>Рост платы в ЕПД относительно декабря 2018 – 2,4% </a:t>
            </a: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xmlns="" id="{EA119204-D631-B44A-8C56-AA9AE1434DD4}"/>
              </a:ext>
            </a:extLst>
          </p:cNvPr>
          <p:cNvGrpSpPr/>
          <p:nvPr/>
        </p:nvGrpSpPr>
        <p:grpSpPr>
          <a:xfrm>
            <a:off x="340659" y="1571890"/>
            <a:ext cx="8777046" cy="3135597"/>
            <a:chOff x="66018" y="1657615"/>
            <a:chExt cx="9051687" cy="3135597"/>
          </a:xfrm>
        </p:grpSpPr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xmlns="" id="{2E64FE77-CE47-B045-A290-D42761BF269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293935" y="2032542"/>
              <a:ext cx="4686164" cy="2337688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xmlns="" id="{799F4BB2-37BA-894D-894B-26B36573D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019" y="2039084"/>
              <a:ext cx="4094999" cy="2292686"/>
            </a:xfrm>
            <a:prstGeom prst="rect">
              <a:avLst/>
            </a:prstGeom>
          </p:spPr>
        </p:pic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xmlns="" id="{73E24A7A-85AE-1347-B193-B97219B0EAEF}"/>
                </a:ext>
              </a:extLst>
            </p:cNvPr>
            <p:cNvSpPr/>
            <p:nvPr/>
          </p:nvSpPr>
          <p:spPr>
            <a:xfrm>
              <a:off x="66018" y="4389127"/>
              <a:ext cx="8578856" cy="4040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13" dirty="0">
                  <a:cs typeface="Times New Roman" panose="02020603050405020304" pitchFamily="18" charset="0"/>
                </a:rPr>
                <a:t>Стоимость услуги за вывоз мусора исключена с 01.01.2019 из платы за «Содержание Ж/Ф» Постановлением Главы </a:t>
              </a:r>
            </a:p>
            <a:p>
              <a:r>
                <a:rPr lang="ru-RU" sz="1013" dirty="0" err="1">
                  <a:cs typeface="Times New Roman" panose="02020603050405020304" pitchFamily="18" charset="0"/>
                </a:rPr>
                <a:t>г.о</a:t>
              </a:r>
              <a:r>
                <a:rPr lang="ru-RU" sz="1013" dirty="0">
                  <a:cs typeface="Times New Roman" panose="02020603050405020304" pitchFamily="18" charset="0"/>
                </a:rPr>
                <a:t>. Чехов от 23.11.2018 №2425/21-01</a:t>
              </a:r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xmlns="" id="{313EB82B-90CB-4541-A5DB-535900E2E20A}"/>
                </a:ext>
              </a:extLst>
            </p:cNvPr>
            <p:cNvCxnSpPr>
              <a:cxnSpLocks/>
            </p:cNvCxnSpPr>
            <p:nvPr/>
          </p:nvCxnSpPr>
          <p:spPr>
            <a:xfrm>
              <a:off x="4294955" y="2259827"/>
              <a:ext cx="4685144" cy="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xmlns="" id="{35AD909C-F041-674A-BA48-93B91CEA59A2}"/>
                </a:ext>
              </a:extLst>
            </p:cNvPr>
            <p:cNvCxnSpPr>
              <a:cxnSpLocks/>
            </p:cNvCxnSpPr>
            <p:nvPr/>
          </p:nvCxnSpPr>
          <p:spPr>
            <a:xfrm>
              <a:off x="4294955" y="2467890"/>
              <a:ext cx="4685144" cy="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xmlns="" id="{C78890B1-BB8F-354A-99BE-AD4009C270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019" y="2274496"/>
              <a:ext cx="4094999" cy="19278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xmlns="" id="{DAC108EA-0C91-CC41-92D7-AFA60F595221}"/>
                </a:ext>
              </a:extLst>
            </p:cNvPr>
            <p:cNvCxnSpPr>
              <a:cxnSpLocks/>
            </p:cNvCxnSpPr>
            <p:nvPr/>
          </p:nvCxnSpPr>
          <p:spPr>
            <a:xfrm>
              <a:off x="66019" y="2489633"/>
              <a:ext cx="4094999" cy="1943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656146D7-2D3E-E047-A004-E5B89015ABEB}"/>
                </a:ext>
              </a:extLst>
            </p:cNvPr>
            <p:cNvSpPr txBox="1"/>
            <p:nvPr/>
          </p:nvSpPr>
          <p:spPr>
            <a:xfrm>
              <a:off x="7946995" y="1667299"/>
              <a:ext cx="1170710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13" dirty="0">
                  <a:solidFill>
                    <a:srgbClr val="FF0000"/>
                  </a:solidFill>
                  <a:cs typeface="Times New Roman" panose="02020603050405020304" pitchFamily="18" charset="0"/>
                </a:rPr>
                <a:t>Январь 2019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B4E49B61-0261-8044-9D90-03D5B6782D1A}"/>
                </a:ext>
              </a:extLst>
            </p:cNvPr>
            <p:cNvSpPr txBox="1"/>
            <p:nvPr/>
          </p:nvSpPr>
          <p:spPr>
            <a:xfrm>
              <a:off x="136334" y="1704727"/>
              <a:ext cx="1840851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13" dirty="0">
                  <a:solidFill>
                    <a:srgbClr val="FF0000"/>
                  </a:solidFill>
                  <a:cs typeface="Times New Roman" panose="02020603050405020304" pitchFamily="18" charset="0"/>
                </a:rPr>
                <a:t>Декабрь 2018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5BB5EC38-B6CE-9F48-A516-73F48D8EBA22}"/>
                </a:ext>
              </a:extLst>
            </p:cNvPr>
            <p:cNvSpPr txBox="1"/>
            <p:nvPr/>
          </p:nvSpPr>
          <p:spPr>
            <a:xfrm>
              <a:off x="3230356" y="1657615"/>
              <a:ext cx="2864853" cy="2482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13" b="1" dirty="0">
                  <a:cs typeface="Times New Roman" panose="02020603050405020304" pitchFamily="18" charset="0"/>
                </a:rPr>
                <a:t>Чехов </a:t>
              </a:r>
              <a:r>
                <a:rPr lang="ru-RU" sz="1013" b="1" dirty="0" err="1">
                  <a:cs typeface="Times New Roman" panose="02020603050405020304" pitchFamily="18" charset="0"/>
                </a:rPr>
                <a:t>г.о</a:t>
              </a:r>
              <a:r>
                <a:rPr lang="ru-RU" sz="1013" b="1" dirty="0">
                  <a:cs typeface="Times New Roman" panose="02020603050405020304" pitchFamily="18" charset="0"/>
                </a:rPr>
                <a:t>., ул. Полиграфистов д.10</a:t>
              </a:r>
            </a:p>
          </p:txBody>
        </p:sp>
        <p:cxnSp>
          <p:nvCxnSpPr>
            <p:cNvPr id="28" name="Прямая соединительная линия 27">
              <a:extLst>
                <a:ext uri="{FF2B5EF4-FFF2-40B4-BE49-F238E27FC236}">
                  <a16:creationId xmlns:a16="http://schemas.microsoft.com/office/drawing/2014/main" xmlns="" id="{4F975A00-C594-4E42-BB44-E8FBDEA9E301}"/>
                </a:ext>
              </a:extLst>
            </p:cNvPr>
            <p:cNvCxnSpPr>
              <a:cxnSpLocks/>
            </p:cNvCxnSpPr>
            <p:nvPr/>
          </p:nvCxnSpPr>
          <p:spPr>
            <a:xfrm>
              <a:off x="4293934" y="3543163"/>
              <a:ext cx="4661477" cy="0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xmlns="" id="{91713F3B-0958-C74F-AE24-AC56EECDA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46271" y="3567784"/>
              <a:ext cx="533828" cy="166821"/>
            </a:xfrm>
            <a:prstGeom prst="rect">
              <a:avLst/>
            </a:prstGeom>
          </p:spPr>
        </p:pic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xmlns="" id="{312E981C-FE3B-AD44-B358-96CFF831FB8E}"/>
                </a:ext>
              </a:extLst>
            </p:cNvPr>
            <p:cNvCxnSpPr>
              <a:cxnSpLocks/>
            </p:cNvCxnSpPr>
            <p:nvPr/>
          </p:nvCxnSpPr>
          <p:spPr>
            <a:xfrm>
              <a:off x="4293935" y="3744054"/>
              <a:ext cx="4686164" cy="0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xmlns="" id="{81EF3680-527F-0042-AF43-0B0C829FB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34712" y="2538831"/>
              <a:ext cx="369554" cy="1660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5115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C499813-F01D-3343-A4A9-B8201BF50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332399"/>
          </a:xfrm>
        </p:spPr>
        <p:txBody>
          <a:bodyPr/>
          <a:lstStyle/>
          <a:p>
            <a:r>
              <a:rPr lang="ru-RU" dirty="0"/>
              <a:t>Плата жителей с 01.01.2019 за ЖКУ на примере г.о. Балашиха</a:t>
            </a: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xmlns="" id="{9A6D5B30-2233-EE41-84FF-D8B15A5489C2}"/>
              </a:ext>
            </a:extLst>
          </p:cNvPr>
          <p:cNvSpPr/>
          <p:nvPr/>
        </p:nvSpPr>
        <p:spPr>
          <a:xfrm>
            <a:off x="1228725" y="805594"/>
            <a:ext cx="6618764" cy="342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7170450-3BC4-9B40-91FD-B702AAA751BD}"/>
              </a:ext>
            </a:extLst>
          </p:cNvPr>
          <p:cNvSpPr txBox="1"/>
          <p:nvPr/>
        </p:nvSpPr>
        <p:spPr>
          <a:xfrm>
            <a:off x="1844027" y="792207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cs typeface="Times New Roman" panose="02020603050405020304" pitchFamily="18" charset="0"/>
              </a:rPr>
              <a:t>Рост платы в ЕПД относительно декабря 2018 – 2,5%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0266DC9A-3049-304A-AD4B-9570463B59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5934" y="1894091"/>
            <a:ext cx="4605891" cy="254432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90FC4A9C-83BB-A449-99C7-09ED381DE5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979" y="1885914"/>
            <a:ext cx="4008252" cy="2552498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ACB1036D-366E-7C4D-BC42-0FBBC2549B5C}"/>
              </a:ext>
            </a:extLst>
          </p:cNvPr>
          <p:cNvSpPr/>
          <p:nvPr/>
        </p:nvSpPr>
        <p:spPr>
          <a:xfrm>
            <a:off x="301622" y="4495931"/>
            <a:ext cx="8578856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13" dirty="0">
                <a:cs typeface="Times New Roman" panose="02020603050405020304" pitchFamily="18" charset="0"/>
              </a:rPr>
              <a:t>Стоимость услуги за вывоз мусора исключена с 01.01.2019 из платы за «Содержание Ж/Ф» Постановлением Главы </a:t>
            </a:r>
          </a:p>
          <a:p>
            <a:r>
              <a:rPr lang="ru-RU" sz="1013" dirty="0" err="1">
                <a:cs typeface="Times New Roman" panose="02020603050405020304" pitchFamily="18" charset="0"/>
              </a:rPr>
              <a:t>г.о</a:t>
            </a:r>
            <a:r>
              <a:rPr lang="ru-RU" sz="1013" dirty="0">
                <a:cs typeface="Times New Roman" panose="02020603050405020304" pitchFamily="18" charset="0"/>
              </a:rPr>
              <a:t>. Балашиха от 07.11.2018 №955-П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29FFF984-74FD-8A4B-B108-89116A686FE6}"/>
              </a:ext>
            </a:extLst>
          </p:cNvPr>
          <p:cNvCxnSpPr>
            <a:cxnSpLocks/>
          </p:cNvCxnSpPr>
          <p:nvPr/>
        </p:nvCxnSpPr>
        <p:spPr>
          <a:xfrm>
            <a:off x="322980" y="2512838"/>
            <a:ext cx="4003537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2ABE770C-ECC1-C44F-B4BD-ECC8055187B1}"/>
              </a:ext>
            </a:extLst>
          </p:cNvPr>
          <p:cNvCxnSpPr>
            <a:cxnSpLocks/>
          </p:cNvCxnSpPr>
          <p:nvPr/>
        </p:nvCxnSpPr>
        <p:spPr>
          <a:xfrm flipV="1">
            <a:off x="322980" y="2725621"/>
            <a:ext cx="4003537" cy="14249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8761E9DA-9EB1-4549-A086-F0EA8FC2C5E6}"/>
              </a:ext>
            </a:extLst>
          </p:cNvPr>
          <p:cNvCxnSpPr>
            <a:cxnSpLocks/>
          </p:cNvCxnSpPr>
          <p:nvPr/>
        </p:nvCxnSpPr>
        <p:spPr>
          <a:xfrm>
            <a:off x="4415297" y="2447030"/>
            <a:ext cx="4583852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72395205-717F-3D4D-A13C-36C0EAA4C44D}"/>
              </a:ext>
            </a:extLst>
          </p:cNvPr>
          <p:cNvCxnSpPr>
            <a:cxnSpLocks/>
          </p:cNvCxnSpPr>
          <p:nvPr/>
        </p:nvCxnSpPr>
        <p:spPr>
          <a:xfrm>
            <a:off x="4415297" y="2638538"/>
            <a:ext cx="4583852" cy="40819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2B63AF4-CB0C-584B-A4C2-9D05E26A5AE6}"/>
              </a:ext>
            </a:extLst>
          </p:cNvPr>
          <p:cNvSpPr txBox="1"/>
          <p:nvPr/>
        </p:nvSpPr>
        <p:spPr>
          <a:xfrm>
            <a:off x="7828439" y="1617092"/>
            <a:ext cx="1170710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dirty="0">
                <a:solidFill>
                  <a:srgbClr val="FF0000"/>
                </a:solidFill>
                <a:cs typeface="Times New Roman" panose="02020603050405020304" pitchFamily="18" charset="0"/>
              </a:rPr>
              <a:t>Январь 2019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BE9189-DA5D-0C46-9A39-E471D8B7C029}"/>
              </a:ext>
            </a:extLst>
          </p:cNvPr>
          <p:cNvSpPr txBox="1"/>
          <p:nvPr/>
        </p:nvSpPr>
        <p:spPr>
          <a:xfrm>
            <a:off x="389081" y="1608914"/>
            <a:ext cx="1840851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dirty="0">
                <a:solidFill>
                  <a:srgbClr val="FF0000"/>
                </a:solidFill>
                <a:cs typeface="Times New Roman" panose="02020603050405020304" pitchFamily="18" charset="0"/>
              </a:rPr>
              <a:t>Декабрь 2018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C521AD5-EC33-2543-9EC5-8C0A9C5E90BA}"/>
              </a:ext>
            </a:extLst>
          </p:cNvPr>
          <p:cNvSpPr txBox="1"/>
          <p:nvPr/>
        </p:nvSpPr>
        <p:spPr>
          <a:xfrm>
            <a:off x="2711145" y="1489268"/>
            <a:ext cx="3759811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b="1" dirty="0">
                <a:cs typeface="Times New Roman" panose="02020603050405020304" pitchFamily="18" charset="0"/>
              </a:rPr>
              <a:t>Балашиха </a:t>
            </a:r>
            <a:r>
              <a:rPr lang="ru-RU" sz="1013" b="1" dirty="0" err="1">
                <a:cs typeface="Times New Roman" panose="02020603050405020304" pitchFamily="18" charset="0"/>
              </a:rPr>
              <a:t>г.о</a:t>
            </a:r>
            <a:r>
              <a:rPr lang="ru-RU" sz="1013" b="1" dirty="0">
                <a:cs typeface="Times New Roman" panose="02020603050405020304" pitchFamily="18" charset="0"/>
              </a:rPr>
              <a:t>., дер. Черное, Агрогородок, д.26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E372C316-D0FA-1549-84B9-DB500668E4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1769" y="3721177"/>
            <a:ext cx="450056" cy="128588"/>
          </a:xfrm>
          <a:prstGeom prst="rect">
            <a:avLst/>
          </a:prstGeom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36C91240-E5B6-4044-A337-0AE13E99A2A9}"/>
              </a:ext>
            </a:extLst>
          </p:cNvPr>
          <p:cNvCxnSpPr>
            <a:cxnSpLocks/>
          </p:cNvCxnSpPr>
          <p:nvPr/>
        </p:nvCxnSpPr>
        <p:spPr>
          <a:xfrm>
            <a:off x="4397972" y="3849765"/>
            <a:ext cx="4601177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B13097FC-1127-AC4A-80B5-8E7E6B7B7E81}"/>
              </a:ext>
            </a:extLst>
          </p:cNvPr>
          <p:cNvCxnSpPr>
            <a:cxnSpLocks/>
          </p:cNvCxnSpPr>
          <p:nvPr/>
        </p:nvCxnSpPr>
        <p:spPr>
          <a:xfrm>
            <a:off x="4415296" y="4050655"/>
            <a:ext cx="4601177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E0B2C4FC-5B87-3749-A712-ADEB49F406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9486" y="3117810"/>
            <a:ext cx="799706" cy="142875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197A4F0B-3024-6348-9BE4-AEB4038793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8224" y="3160828"/>
            <a:ext cx="807710" cy="96872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1FD30D0C-A0D7-C24B-A6BE-C3298AB329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08763" y="3027317"/>
            <a:ext cx="1072148" cy="128588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FA73486A-B444-C843-A307-F79D507900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25553" y="1863253"/>
            <a:ext cx="1600974" cy="40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6783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00AF1C3-B28C-9441-A5F1-175DB8EE5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8" y="193162"/>
            <a:ext cx="8803341" cy="321245"/>
          </a:xfrm>
        </p:spPr>
        <p:txBody>
          <a:bodyPr/>
          <a:lstStyle/>
          <a:p>
            <a:r>
              <a:rPr lang="ru-RU" dirty="0"/>
              <a:t>Плата жителей с 01.01.2019 за ЖКУ на примере г.о. Дзержинский</a:t>
            </a: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xmlns="" id="{0E19A2B8-9770-7F40-B913-B72C27FF60BD}"/>
              </a:ext>
            </a:extLst>
          </p:cNvPr>
          <p:cNvSpPr/>
          <p:nvPr/>
        </p:nvSpPr>
        <p:spPr>
          <a:xfrm>
            <a:off x="1228725" y="818290"/>
            <a:ext cx="6618764" cy="34255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EE52729-8F9E-8D49-93E6-93545E546E0A}"/>
              </a:ext>
            </a:extLst>
          </p:cNvPr>
          <p:cNvSpPr txBox="1"/>
          <p:nvPr/>
        </p:nvSpPr>
        <p:spPr>
          <a:xfrm>
            <a:off x="1844027" y="804903"/>
            <a:ext cx="579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cs typeface="Times New Roman" panose="02020603050405020304" pitchFamily="18" charset="0"/>
              </a:rPr>
              <a:t>Рост платы в ЕПД относительно декабря 2018 – 1,5%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AB8F61BE-2A47-9147-BCA2-1D2A24520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3580" y="1934537"/>
            <a:ext cx="4281294" cy="236344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7F5475D4-C425-8847-86A8-6B8EE95329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383" y="1936206"/>
            <a:ext cx="4441895" cy="2361777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16E2C5C-C170-0B47-A528-10F8DE2F6595}"/>
              </a:ext>
            </a:extLst>
          </p:cNvPr>
          <p:cNvSpPr/>
          <p:nvPr/>
        </p:nvSpPr>
        <p:spPr>
          <a:xfrm>
            <a:off x="295381" y="4381553"/>
            <a:ext cx="8578856" cy="40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13" dirty="0">
                <a:cs typeface="Times New Roman" panose="02020603050405020304" pitchFamily="18" charset="0"/>
              </a:rPr>
              <a:t>Стоимость услуги за вывоз мусора исключена с 01.01.2019 из платы за «Содержание Ж/Ф» Постановлением Главы </a:t>
            </a:r>
            <a:r>
              <a:rPr lang="ru-RU" sz="1013" dirty="0" err="1">
                <a:cs typeface="Times New Roman" panose="02020603050405020304" pitchFamily="18" charset="0"/>
              </a:rPr>
              <a:t>г.о</a:t>
            </a:r>
            <a:r>
              <a:rPr lang="ru-RU" sz="1013" dirty="0">
                <a:cs typeface="Times New Roman" panose="02020603050405020304" pitchFamily="18" charset="0"/>
              </a:rPr>
              <a:t>. Дзержинский  от 31.10.2018 №856-ПГ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341D983-43C2-794D-A532-0F07349B1757}"/>
              </a:ext>
            </a:extLst>
          </p:cNvPr>
          <p:cNvSpPr txBox="1"/>
          <p:nvPr/>
        </p:nvSpPr>
        <p:spPr>
          <a:xfrm>
            <a:off x="8016607" y="1575365"/>
            <a:ext cx="1075085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dirty="0">
                <a:solidFill>
                  <a:srgbClr val="FF0000"/>
                </a:solidFill>
                <a:cs typeface="Times New Roman" panose="02020603050405020304" pitchFamily="18" charset="0"/>
              </a:rPr>
              <a:t>Январь 201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0F92497-290F-D947-AF91-70707C5C2756}"/>
              </a:ext>
            </a:extLst>
          </p:cNvPr>
          <p:cNvSpPr txBox="1"/>
          <p:nvPr/>
        </p:nvSpPr>
        <p:spPr>
          <a:xfrm>
            <a:off x="295381" y="1569609"/>
            <a:ext cx="1840851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dirty="0">
                <a:solidFill>
                  <a:srgbClr val="FF0000"/>
                </a:solidFill>
                <a:cs typeface="Times New Roman" panose="02020603050405020304" pitchFamily="18" charset="0"/>
              </a:rPr>
              <a:t>Декабрь 2018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3EC7E39-3D25-2B41-9D06-767598D820F7}"/>
              </a:ext>
            </a:extLst>
          </p:cNvPr>
          <p:cNvSpPr txBox="1"/>
          <p:nvPr/>
        </p:nvSpPr>
        <p:spPr>
          <a:xfrm>
            <a:off x="3037346" y="1435117"/>
            <a:ext cx="3269960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b="1" dirty="0">
                <a:cs typeface="Times New Roman" panose="02020603050405020304" pitchFamily="18" charset="0"/>
              </a:rPr>
              <a:t>Дзержинский </a:t>
            </a:r>
            <a:r>
              <a:rPr lang="ru-RU" sz="1013" b="1" dirty="0" err="1">
                <a:cs typeface="Times New Roman" panose="02020603050405020304" pitchFamily="18" charset="0"/>
              </a:rPr>
              <a:t>г.о</a:t>
            </a:r>
            <a:r>
              <a:rPr lang="ru-RU" sz="1013" b="1" dirty="0">
                <a:cs typeface="Times New Roman" panose="02020603050405020304" pitchFamily="18" charset="0"/>
              </a:rPr>
              <a:t>.,  ул. </a:t>
            </a:r>
            <a:r>
              <a:rPr lang="ru-RU" sz="1013" b="1" dirty="0" err="1">
                <a:cs typeface="Times New Roman" panose="02020603050405020304" pitchFamily="18" charset="0"/>
              </a:rPr>
              <a:t>Томилинская</a:t>
            </a:r>
            <a:r>
              <a:rPr lang="ru-RU" sz="1013" b="1" dirty="0">
                <a:cs typeface="Times New Roman" panose="02020603050405020304" pitchFamily="18" charset="0"/>
              </a:rPr>
              <a:t> д.23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0F9D3FF3-ED82-E44E-903C-36A28C88A850}"/>
              </a:ext>
            </a:extLst>
          </p:cNvPr>
          <p:cNvCxnSpPr>
            <a:cxnSpLocks/>
          </p:cNvCxnSpPr>
          <p:nvPr/>
        </p:nvCxnSpPr>
        <p:spPr>
          <a:xfrm>
            <a:off x="295381" y="2115403"/>
            <a:ext cx="4441895" cy="257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14890BA4-9F10-1B49-8E17-1EDB2BC3F259}"/>
              </a:ext>
            </a:extLst>
          </p:cNvPr>
          <p:cNvCxnSpPr>
            <a:cxnSpLocks/>
          </p:cNvCxnSpPr>
          <p:nvPr/>
        </p:nvCxnSpPr>
        <p:spPr>
          <a:xfrm>
            <a:off x="295382" y="2339349"/>
            <a:ext cx="4441895" cy="4926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B07C3953-6F7A-B94C-A797-A068398380FD}"/>
              </a:ext>
            </a:extLst>
          </p:cNvPr>
          <p:cNvCxnSpPr>
            <a:cxnSpLocks/>
          </p:cNvCxnSpPr>
          <p:nvPr/>
        </p:nvCxnSpPr>
        <p:spPr>
          <a:xfrm>
            <a:off x="4818009" y="2115403"/>
            <a:ext cx="4232171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A74E85D3-721D-A240-957C-098CE4F3D6B1}"/>
              </a:ext>
            </a:extLst>
          </p:cNvPr>
          <p:cNvCxnSpPr>
            <a:cxnSpLocks/>
          </p:cNvCxnSpPr>
          <p:nvPr/>
        </p:nvCxnSpPr>
        <p:spPr>
          <a:xfrm flipV="1">
            <a:off x="4818009" y="2296269"/>
            <a:ext cx="4232171" cy="14612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90C80AB0-6CBD-1540-ABDF-79CDB9D1F8CE}"/>
              </a:ext>
            </a:extLst>
          </p:cNvPr>
          <p:cNvCxnSpPr>
            <a:cxnSpLocks/>
          </p:cNvCxnSpPr>
          <p:nvPr/>
        </p:nvCxnSpPr>
        <p:spPr>
          <a:xfrm>
            <a:off x="4835639" y="3018110"/>
            <a:ext cx="4242062" cy="1044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8FC5A0A4-1E25-9349-82AF-F3776A34F9F8}"/>
              </a:ext>
            </a:extLst>
          </p:cNvPr>
          <p:cNvCxnSpPr>
            <a:cxnSpLocks/>
          </p:cNvCxnSpPr>
          <p:nvPr/>
        </p:nvCxnSpPr>
        <p:spPr>
          <a:xfrm flipV="1">
            <a:off x="4823196" y="3182651"/>
            <a:ext cx="4242062" cy="298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D43A5C41-25E7-8941-949F-1808C17044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7570" y="2587806"/>
            <a:ext cx="799706" cy="14287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3C4B8C16-1C00-9F4F-BF32-DA9E61BE3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79464" y="2506747"/>
            <a:ext cx="799706" cy="142875"/>
          </a:xfrm>
          <a:prstGeom prst="rect">
            <a:avLst/>
          </a:prstGeom>
          <a:solidFill>
            <a:schemeClr val="bg1"/>
          </a:solidFill>
          <a:ln w="38100">
            <a:noFill/>
          </a:ln>
        </p:spPr>
      </p:pic>
    </p:spTree>
    <p:extLst>
      <p:ext uri="{BB962C8B-B14F-4D97-AF65-F5344CB8AC3E}">
        <p14:creationId xmlns:p14="http://schemas.microsoft.com/office/powerpoint/2010/main" val="287161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D81BB97-3B70-6747-9EF5-D9A63D63E9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332399"/>
          </a:xfrm>
        </p:spPr>
        <p:txBody>
          <a:bodyPr/>
          <a:lstStyle/>
          <a:p>
            <a:r>
              <a:rPr lang="ru-RU" dirty="0"/>
              <a:t>Плата жителей ИЖС с 01.01.2019 за обращение с ТКО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FFAA77FA-73B4-644D-B2B7-97D4AEB617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695" y="1505374"/>
            <a:ext cx="8758610" cy="3096651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F3917F9-AA8E-314B-8D43-E4507ACA69B6}"/>
              </a:ext>
            </a:extLst>
          </p:cNvPr>
          <p:cNvSpPr/>
          <p:nvPr/>
        </p:nvSpPr>
        <p:spPr>
          <a:xfrm>
            <a:off x="186571" y="4654294"/>
            <a:ext cx="8354207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13" dirty="0">
                <a:cs typeface="Times New Roman" panose="02020603050405020304" pitchFamily="18" charset="0"/>
              </a:rPr>
              <a:t>* </a:t>
            </a:r>
            <a:r>
              <a:rPr lang="ru-RU" sz="1013" dirty="0">
                <a:cs typeface="Times New Roman" panose="02020603050405020304" pitchFamily="18" charset="0"/>
              </a:rPr>
              <a:t>При расчете применен предельный размер платы для жилого строения площадью до 100 кв.м. – 200 руб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ABD9D8A-C07F-E74A-8A4F-AFBF23CB6006}"/>
              </a:ext>
            </a:extLst>
          </p:cNvPr>
          <p:cNvSpPr txBox="1"/>
          <p:nvPr/>
        </p:nvSpPr>
        <p:spPr>
          <a:xfrm>
            <a:off x="2158995" y="515943"/>
            <a:ext cx="482601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600" b="1" dirty="0">
                <a:cs typeface="Times New Roman" panose="02020603050405020304" pitchFamily="18" charset="0"/>
              </a:rPr>
              <a:t>Применение предельных тарифов для ИЖС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5E16D6D9-2F75-104F-8ADA-54E0D9A17F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320" y="1066792"/>
            <a:ext cx="1494008" cy="43858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608EF675-EF96-8846-9871-D801AF388E48}"/>
              </a:ext>
            </a:extLst>
          </p:cNvPr>
          <p:cNvCxnSpPr>
            <a:cxnSpLocks/>
          </p:cNvCxnSpPr>
          <p:nvPr/>
        </p:nvCxnSpPr>
        <p:spPr>
          <a:xfrm>
            <a:off x="186571" y="2977578"/>
            <a:ext cx="8764734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129EC293-CDBF-884F-963F-D04CCC091782}"/>
              </a:ext>
            </a:extLst>
          </p:cNvPr>
          <p:cNvCxnSpPr>
            <a:cxnSpLocks/>
          </p:cNvCxnSpPr>
          <p:nvPr/>
        </p:nvCxnSpPr>
        <p:spPr>
          <a:xfrm>
            <a:off x="5986991" y="3159420"/>
            <a:ext cx="0" cy="22340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5440C22F-DE39-074F-BB99-02FDB7630EF1}"/>
              </a:ext>
            </a:extLst>
          </p:cNvPr>
          <p:cNvCxnSpPr/>
          <p:nvPr/>
        </p:nvCxnSpPr>
        <p:spPr>
          <a:xfrm>
            <a:off x="5986991" y="3159420"/>
            <a:ext cx="692728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41FB2E84-20AA-0848-9480-FD2DD24A0A2F}"/>
              </a:ext>
            </a:extLst>
          </p:cNvPr>
          <p:cNvCxnSpPr>
            <a:cxnSpLocks/>
          </p:cNvCxnSpPr>
          <p:nvPr/>
        </p:nvCxnSpPr>
        <p:spPr>
          <a:xfrm>
            <a:off x="6679718" y="3159420"/>
            <a:ext cx="0" cy="223405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2791C565-97AB-8441-9667-59F152BAC9EA}"/>
              </a:ext>
            </a:extLst>
          </p:cNvPr>
          <p:cNvCxnSpPr>
            <a:cxnSpLocks/>
          </p:cNvCxnSpPr>
          <p:nvPr/>
        </p:nvCxnSpPr>
        <p:spPr>
          <a:xfrm>
            <a:off x="222146" y="3382825"/>
            <a:ext cx="8759780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8528F17-C928-324B-BA07-FBD8B548034F}"/>
              </a:ext>
            </a:extLst>
          </p:cNvPr>
          <p:cNvSpPr txBox="1"/>
          <p:nvPr/>
        </p:nvSpPr>
        <p:spPr>
          <a:xfrm>
            <a:off x="1961237" y="782738"/>
            <a:ext cx="5221526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600" b="1" dirty="0">
                <a:solidFill>
                  <a:srgbClr val="FF0000"/>
                </a:solidFill>
                <a:cs typeface="Times New Roman" panose="02020603050405020304" pitchFamily="18" charset="0"/>
              </a:rPr>
              <a:t>Плата без учета скидки составляет 303,24руб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9D9FE39A-9551-304C-9134-FF72DB116A50}"/>
              </a:ext>
            </a:extLst>
          </p:cNvPr>
          <p:cNvSpPr txBox="1"/>
          <p:nvPr/>
        </p:nvSpPr>
        <p:spPr>
          <a:xfrm>
            <a:off x="6272472" y="3209240"/>
            <a:ext cx="358755" cy="24820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1013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7101413C-91E3-C34E-BAD6-CCE2A6939CD5}"/>
              </a:ext>
            </a:extLst>
          </p:cNvPr>
          <p:cNvSpPr txBox="1"/>
          <p:nvPr/>
        </p:nvSpPr>
        <p:spPr>
          <a:xfrm>
            <a:off x="6165873" y="3097997"/>
            <a:ext cx="623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00B050"/>
                </a:solidFill>
                <a:cs typeface="Times New Roman" panose="02020603050405020304" pitchFamily="18" charset="0"/>
              </a:rPr>
              <a:t>200</a:t>
            </a:r>
            <a:r>
              <a:rPr lang="ru-RU" sz="1800" b="1" baseline="30000" dirty="0">
                <a:solidFill>
                  <a:srgbClr val="00B050"/>
                </a:solidFill>
                <a:cs typeface="Times New Roman" panose="02020603050405020304" pitchFamily="18" charset="0"/>
              </a:rPr>
              <a:t>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02C10D4-A59D-2D49-B843-6D83C4759535}"/>
              </a:ext>
            </a:extLst>
          </p:cNvPr>
          <p:cNvSpPr txBox="1"/>
          <p:nvPr/>
        </p:nvSpPr>
        <p:spPr>
          <a:xfrm>
            <a:off x="3038374" y="1202241"/>
            <a:ext cx="3061127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b="1" dirty="0" err="1">
                <a:cs typeface="Times New Roman" panose="02020603050405020304" pitchFamily="18" charset="0"/>
              </a:rPr>
              <a:t>г.о</a:t>
            </a:r>
            <a:r>
              <a:rPr lang="ru-RU" sz="1013" b="1" dirty="0">
                <a:cs typeface="Times New Roman" panose="02020603050405020304" pitchFamily="18" charset="0"/>
              </a:rPr>
              <a:t>. Егорьевск, дер. Большое </a:t>
            </a:r>
            <a:r>
              <a:rPr lang="ru-RU" sz="1013" b="1" dirty="0" err="1">
                <a:cs typeface="Times New Roman" panose="02020603050405020304" pitchFamily="18" charset="0"/>
              </a:rPr>
              <a:t>Гридино</a:t>
            </a:r>
            <a:endParaRPr lang="ru-RU" sz="1013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320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D81D2EA-309D-0F47-867C-B2E7B7D54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332399"/>
          </a:xfrm>
        </p:spPr>
        <p:txBody>
          <a:bodyPr/>
          <a:lstStyle/>
          <a:p>
            <a:r>
              <a:rPr lang="ru-RU" dirty="0"/>
              <a:t>Плата жителей ИЖС с 01.01.2019 за обращение с ТКО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DF7F3F52-76B2-084A-ABA5-E84C9522B9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319" y="1469481"/>
            <a:ext cx="8470383" cy="297643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F10D5878-B2F7-D344-80F6-79F46F1270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320" y="1055893"/>
            <a:ext cx="1494008" cy="438582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5AE81DD0-9E90-4E43-84A5-E253F78C3EA8}"/>
              </a:ext>
            </a:extLst>
          </p:cNvPr>
          <p:cNvSpPr/>
          <p:nvPr/>
        </p:nvSpPr>
        <p:spPr>
          <a:xfrm>
            <a:off x="220319" y="4597955"/>
            <a:ext cx="8354207" cy="248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13" b="1" baseline="30000" dirty="0">
                <a:cs typeface="Times New Roman" panose="02020603050405020304" pitchFamily="18" charset="0"/>
              </a:rPr>
              <a:t>*</a:t>
            </a:r>
            <a:r>
              <a:rPr lang="en-US" sz="1013" b="1" baseline="30000" dirty="0">
                <a:cs typeface="Times New Roman" panose="02020603050405020304" pitchFamily="18" charset="0"/>
              </a:rPr>
              <a:t> </a:t>
            </a:r>
            <a:r>
              <a:rPr lang="ru-RU" sz="1013" dirty="0">
                <a:cs typeface="Times New Roman" panose="02020603050405020304" pitchFamily="18" charset="0"/>
              </a:rPr>
              <a:t>При расчете применена скидка 70% от предельного размера платы для жилого строения площадью до 250 кв.м. – 450 руб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598BF05B-7ED9-A74B-8989-62667E3CEB61}"/>
              </a:ext>
            </a:extLst>
          </p:cNvPr>
          <p:cNvSpPr txBox="1"/>
          <p:nvPr/>
        </p:nvSpPr>
        <p:spPr>
          <a:xfrm>
            <a:off x="-60846" y="558570"/>
            <a:ext cx="9034517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1600" b="1" dirty="0">
                <a:cs typeface="Times New Roman" panose="02020603050405020304" pitchFamily="18" charset="0"/>
              </a:rPr>
              <a:t>Применение дополнительной скидки 70% для ИЖС, находящихся вблизи КПО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5F186136-DB04-9040-91BA-C2BDBA20C0E1}"/>
              </a:ext>
            </a:extLst>
          </p:cNvPr>
          <p:cNvCxnSpPr>
            <a:cxnSpLocks/>
          </p:cNvCxnSpPr>
          <p:nvPr/>
        </p:nvCxnSpPr>
        <p:spPr>
          <a:xfrm>
            <a:off x="278091" y="2886940"/>
            <a:ext cx="8332509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C913DF53-4AC3-A944-BDB9-A7D185D03396}"/>
              </a:ext>
            </a:extLst>
          </p:cNvPr>
          <p:cNvCxnSpPr>
            <a:cxnSpLocks/>
          </p:cNvCxnSpPr>
          <p:nvPr/>
        </p:nvCxnSpPr>
        <p:spPr>
          <a:xfrm>
            <a:off x="278091" y="3286991"/>
            <a:ext cx="8332509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C09E5E27-BBB6-1F4D-A7B1-7C00D3379752}"/>
              </a:ext>
            </a:extLst>
          </p:cNvPr>
          <p:cNvCxnSpPr>
            <a:cxnSpLocks/>
          </p:cNvCxnSpPr>
          <p:nvPr/>
        </p:nvCxnSpPr>
        <p:spPr>
          <a:xfrm>
            <a:off x="5805054" y="3068782"/>
            <a:ext cx="0" cy="201111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5D91613D-F708-8343-A36B-803731F5790A}"/>
              </a:ext>
            </a:extLst>
          </p:cNvPr>
          <p:cNvCxnSpPr>
            <a:cxnSpLocks/>
          </p:cNvCxnSpPr>
          <p:nvPr/>
        </p:nvCxnSpPr>
        <p:spPr>
          <a:xfrm>
            <a:off x="5805054" y="3068782"/>
            <a:ext cx="671947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4EB85BC7-60D7-7740-B502-CCE3BF41FD7A}"/>
              </a:ext>
            </a:extLst>
          </p:cNvPr>
          <p:cNvCxnSpPr>
            <a:cxnSpLocks/>
          </p:cNvCxnSpPr>
          <p:nvPr/>
        </p:nvCxnSpPr>
        <p:spPr>
          <a:xfrm>
            <a:off x="6477001" y="3068782"/>
            <a:ext cx="0" cy="201111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D8E0CDB1-C1A2-0647-9278-2E39361F5B87}"/>
              </a:ext>
            </a:extLst>
          </p:cNvPr>
          <p:cNvSpPr/>
          <p:nvPr/>
        </p:nvSpPr>
        <p:spPr>
          <a:xfrm>
            <a:off x="5992092" y="3128117"/>
            <a:ext cx="443345" cy="1126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13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DB8A224F-AFE0-8D4F-A35D-8CB82C1E5D39}"/>
              </a:ext>
            </a:extLst>
          </p:cNvPr>
          <p:cNvSpPr txBox="1"/>
          <p:nvPr/>
        </p:nvSpPr>
        <p:spPr>
          <a:xfrm>
            <a:off x="5971310" y="2996213"/>
            <a:ext cx="6234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00B050"/>
                </a:solidFill>
                <a:cs typeface="Times New Roman" panose="02020603050405020304" pitchFamily="18" charset="0"/>
              </a:rPr>
              <a:t>135</a:t>
            </a:r>
            <a:r>
              <a:rPr lang="ru-RU" sz="1800" b="1" baseline="30000" dirty="0">
                <a:solidFill>
                  <a:srgbClr val="00B050"/>
                </a:solidFill>
                <a:cs typeface="Times New Roman" panose="02020603050405020304" pitchFamily="18" charset="0"/>
              </a:rPr>
              <a:t>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54782B4-3A21-3F49-A1C3-6A7C59078B66}"/>
              </a:ext>
            </a:extLst>
          </p:cNvPr>
          <p:cNvSpPr txBox="1"/>
          <p:nvPr/>
        </p:nvSpPr>
        <p:spPr>
          <a:xfrm>
            <a:off x="2042258" y="854783"/>
            <a:ext cx="4828309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  <a:cs typeface="Times New Roman" panose="02020603050405020304" pitchFamily="18" charset="0"/>
              </a:rPr>
              <a:t>Плата без учета скидки составляет 1 270 руб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47518F8C-1753-C544-8904-95570CFD1566}"/>
              </a:ext>
            </a:extLst>
          </p:cNvPr>
          <p:cNvSpPr txBox="1"/>
          <p:nvPr/>
        </p:nvSpPr>
        <p:spPr>
          <a:xfrm>
            <a:off x="3484417" y="1217477"/>
            <a:ext cx="2175167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b="1" dirty="0" err="1">
                <a:cs typeface="Times New Roman" panose="02020603050405020304" pitchFamily="18" charset="0"/>
              </a:rPr>
              <a:t>г.о</a:t>
            </a:r>
            <a:r>
              <a:rPr lang="ru-RU" sz="1013" b="1" dirty="0">
                <a:cs typeface="Times New Roman" panose="02020603050405020304" pitchFamily="18" charset="0"/>
              </a:rPr>
              <a:t>. Зарайск, дер. </a:t>
            </a:r>
            <a:r>
              <a:rPr lang="ru-RU" sz="1013" b="1" dirty="0" err="1">
                <a:cs typeface="Times New Roman" panose="02020603050405020304" pitchFamily="18" charset="0"/>
              </a:rPr>
              <a:t>Потлово</a:t>
            </a:r>
            <a:endParaRPr lang="ru-RU" sz="1013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92271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8ED82EF-2BDC-3546-A04E-8BE5174E6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нятые меры по снижению платы жителей за вывоз ТКО</a:t>
            </a:r>
          </a:p>
        </p:txBody>
      </p:sp>
      <p:sp>
        <p:nvSpPr>
          <p:cNvPr id="4" name="Стрелка вправо 3">
            <a:extLst>
              <a:ext uri="{FF2B5EF4-FFF2-40B4-BE49-F238E27FC236}">
                <a16:creationId xmlns:a16="http://schemas.microsoft.com/office/drawing/2014/main" xmlns="" id="{E5E8DFAA-3B2E-C341-A0CF-C5FCD75DF765}"/>
              </a:ext>
            </a:extLst>
          </p:cNvPr>
          <p:cNvSpPr/>
          <p:nvPr/>
        </p:nvSpPr>
        <p:spPr>
          <a:xfrm>
            <a:off x="919550" y="665293"/>
            <a:ext cx="2013573" cy="1328233"/>
          </a:xfrm>
          <a:prstGeom prst="rightArrow">
            <a:avLst>
              <a:gd name="adj1" fmla="val 82929"/>
              <a:gd name="adj2" fmla="val 24177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0232" rIns="0" bIns="40232" rtlCol="0" anchor="ctr"/>
          <a:lstStyle/>
          <a:p>
            <a:pPr marL="194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ещение затрат льготным категориям граждан</a:t>
            </a:r>
          </a:p>
        </p:txBody>
      </p:sp>
      <p:sp>
        <p:nvSpPr>
          <p:cNvPr id="6" name="Стрелка вправо 5">
            <a:extLst>
              <a:ext uri="{FF2B5EF4-FFF2-40B4-BE49-F238E27FC236}">
                <a16:creationId xmlns:a16="http://schemas.microsoft.com/office/drawing/2014/main" xmlns="" id="{C3A85D1D-E5B1-E643-812E-E245FF399CA6}"/>
              </a:ext>
            </a:extLst>
          </p:cNvPr>
          <p:cNvSpPr/>
          <p:nvPr/>
        </p:nvSpPr>
        <p:spPr>
          <a:xfrm>
            <a:off x="919549" y="2134808"/>
            <a:ext cx="1982949" cy="1217685"/>
          </a:xfrm>
          <a:prstGeom prst="rightArrow">
            <a:avLst>
              <a:gd name="adj1" fmla="val 83711"/>
              <a:gd name="adj2" fmla="val 21652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0232" rIns="0" bIns="40232" rtlCol="0" anchor="ctr"/>
          <a:lstStyle/>
          <a:p>
            <a:pPr marL="194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ещение выпадающих доходов управляющих организаций</a:t>
            </a: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xmlns="" id="{6955530F-1684-DE49-B4CE-B4ADD16AF0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17" y="742260"/>
            <a:ext cx="232683" cy="245176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  <a:extLst/>
        </p:spPr>
        <p:txBody>
          <a:bodyPr wrap="none" lIns="0" tIns="0" rIns="0" bIns="0" anchor="ctr"/>
          <a:lstStyle/>
          <a:p>
            <a:pPr marL="5588" algn="ctr" defTabSz="588394"/>
            <a:r>
              <a:rPr lang="en-US" altLang="ko-KR" sz="1200" b="1" kern="0" dirty="0">
                <a:solidFill>
                  <a:schemeClr val="bg1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xmlns="" id="{1A0387D0-6C94-634F-8B04-3521C859E8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17" y="2202971"/>
            <a:ext cx="232683" cy="245176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  <a:extLst/>
        </p:spPr>
        <p:txBody>
          <a:bodyPr wrap="none" lIns="0" tIns="0" rIns="0" bIns="0" anchor="ctr"/>
          <a:lstStyle/>
          <a:p>
            <a:pPr marL="5588" algn="ctr" defTabSz="588394"/>
            <a:r>
              <a:rPr lang="ru-RU" altLang="ko-KR" sz="1200" b="1" kern="0" dirty="0">
                <a:solidFill>
                  <a:schemeClr val="bg1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2</a:t>
            </a:r>
            <a:endParaRPr lang="en-US" altLang="ko-KR" sz="1200" b="1" kern="0" dirty="0">
              <a:solidFill>
                <a:schemeClr val="bg1"/>
              </a:solidFill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12" name="Стрелка вправо 11">
            <a:extLst>
              <a:ext uri="{FF2B5EF4-FFF2-40B4-BE49-F238E27FC236}">
                <a16:creationId xmlns:a16="http://schemas.microsoft.com/office/drawing/2014/main" xmlns="" id="{CE49FCB3-782D-C049-87E6-E796C6C66D39}"/>
              </a:ext>
            </a:extLst>
          </p:cNvPr>
          <p:cNvSpPr/>
          <p:nvPr/>
        </p:nvSpPr>
        <p:spPr>
          <a:xfrm>
            <a:off x="919549" y="3558719"/>
            <a:ext cx="1982949" cy="1217685"/>
          </a:xfrm>
          <a:prstGeom prst="rightArrow">
            <a:avLst>
              <a:gd name="adj1" fmla="val 83711"/>
              <a:gd name="adj2" fmla="val 23489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40232" rIns="0" bIns="40232" rtlCol="0" anchor="ctr"/>
          <a:lstStyle/>
          <a:p>
            <a:pPr marL="194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платежа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xmlns="" id="{8D0DA4D6-6D86-2748-81A1-64BFBE54F4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417" y="3568382"/>
            <a:ext cx="232683" cy="245176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  <a:extLst/>
        </p:spPr>
        <p:txBody>
          <a:bodyPr wrap="none" lIns="0" tIns="0" rIns="0" bIns="0" anchor="ctr"/>
          <a:lstStyle/>
          <a:p>
            <a:pPr marL="5588" algn="ctr" defTabSz="588394"/>
            <a:r>
              <a:rPr lang="ru-RU" altLang="ko-KR" sz="1200" b="1" kern="0" dirty="0">
                <a:solidFill>
                  <a:schemeClr val="bg1"/>
                </a:solidFill>
                <a:latin typeface="Arial" panose="020B0604020202020204" pitchFamily="34" charset="0"/>
                <a:ea typeface="맑은 고딕"/>
                <a:cs typeface="Arial" panose="020B0604020202020204" pitchFamily="34" charset="0"/>
              </a:rPr>
              <a:t>3</a:t>
            </a:r>
            <a:endParaRPr lang="en-US" altLang="ko-KR" sz="1200" b="1" kern="0" dirty="0">
              <a:solidFill>
                <a:schemeClr val="bg1"/>
              </a:solidFill>
              <a:latin typeface="Arial" panose="020B0604020202020204" pitchFamily="34" charset="0"/>
              <a:ea typeface="맑은 고딕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43F047B-3899-F642-B2E4-FC8A40D65268}"/>
              </a:ext>
            </a:extLst>
          </p:cNvPr>
          <p:cNvSpPr txBox="1"/>
          <p:nvPr/>
        </p:nvSpPr>
        <p:spPr>
          <a:xfrm>
            <a:off x="3031088" y="932164"/>
            <a:ext cx="529606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ля льготных категорий граждан предусмотрена компенсация, в </a:t>
            </a:r>
            <a:r>
              <a:rPr lang="ru-RU" sz="1200">
                <a:latin typeface="Arial" panose="020B0604020202020204" pitchFamily="34" charset="0"/>
                <a:cs typeface="Arial" panose="020B0604020202020204" pitchFamily="34" charset="0"/>
              </a:rPr>
              <a:t>размере 50%-100% от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щей стоимости платы за содержание жилого помещения. Стоимость вывоза ТКО будет включена в перечень затрат, подлежащих возмещению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86493BBE-7864-CC4F-B648-B1F1435956E3}"/>
              </a:ext>
            </a:extLst>
          </p:cNvPr>
          <p:cNvSpPr txBox="1"/>
          <p:nvPr/>
        </p:nvSpPr>
        <p:spPr>
          <a:xfrm>
            <a:off x="3033035" y="2104107"/>
            <a:ext cx="5453739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 случае, если документально подтвержденные фактические  среднемесячные расходы за второе полугодие 2018 года за услугу по сбору, транспортировке и утилизации (утилизация, обезврежи-вание и захоронение) ТБО и КГМ, понесенные УО в составе платы за содержание жилого помещения, ниже исключаемой из платы средневзвешенной платы за услугу по Московской области, то данная разница подлежит возмещению УО в рамках государственных и муниципальных программ МО в 2019 г.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CE41C23B-2F5B-2A42-A6D0-0D6A8D09F219}"/>
              </a:ext>
            </a:extLst>
          </p:cNvPr>
          <p:cNvCxnSpPr>
            <a:cxnSpLocks/>
          </p:cNvCxnSpPr>
          <p:nvPr/>
        </p:nvCxnSpPr>
        <p:spPr>
          <a:xfrm>
            <a:off x="2965652" y="2012522"/>
            <a:ext cx="5461371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966982F-BA60-6844-B9F7-4B258A493D1B}"/>
              </a:ext>
            </a:extLst>
          </p:cNvPr>
          <p:cNvSpPr txBox="1"/>
          <p:nvPr/>
        </p:nvSpPr>
        <p:spPr>
          <a:xfrm>
            <a:off x="3033035" y="3932238"/>
            <a:ext cx="545373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инято решение о сохранении размера минимального взноса на капитальный ремонт без роста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12480862-AD63-7248-BE95-FBA1940D1354}"/>
              </a:ext>
            </a:extLst>
          </p:cNvPr>
          <p:cNvCxnSpPr>
            <a:cxnSpLocks/>
          </p:cNvCxnSpPr>
          <p:nvPr/>
        </p:nvCxnSpPr>
        <p:spPr>
          <a:xfrm>
            <a:off x="2948227" y="3506154"/>
            <a:ext cx="5461371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0983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7050642-CD18-6647-B641-4C3D41C12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664797"/>
          </a:xfrm>
        </p:spPr>
        <p:txBody>
          <a:bodyPr/>
          <a:lstStyle/>
          <a:p>
            <a:r>
              <a:rPr lang="ru-RU" dirty="0"/>
              <a:t>Что делать, если в большом доме проживает одинокий пенсионер?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2BC501B9-EF77-714F-896F-CAEDFD2C8F45}"/>
              </a:ext>
            </a:extLst>
          </p:cNvPr>
          <p:cNvSpPr/>
          <p:nvPr/>
        </p:nvSpPr>
        <p:spPr>
          <a:xfrm>
            <a:off x="857650" y="1174169"/>
            <a:ext cx="718831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C3122F"/>
                </a:solidFill>
                <a:ea typeface="Open Sans Light" panose="020B0306030504020204" pitchFamily="34" charset="0"/>
                <a:cs typeface="Times New Roman" panose="02020603050405020304" pitchFamily="18" charset="0"/>
              </a:rPr>
              <a:t>Меры социальной поддержки и льготы для населения</a:t>
            </a:r>
            <a:endParaRPr lang="ru-RU" sz="1800" b="1" dirty="0"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xmlns="" id="{1D8B6224-5D51-EC4B-A86F-76F53BE8FB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107366"/>
              </p:ext>
            </p:extLst>
          </p:nvPr>
        </p:nvGraphicFramePr>
        <p:xfrm>
          <a:off x="702913" y="1664844"/>
          <a:ext cx="7738174" cy="25845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2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9687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160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476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4850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10476">
                <a:tc gridSpan="5"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Льготы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Правительства Московской области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*</a:t>
                      </a:r>
                    </a:p>
                  </a:txBody>
                  <a:tcPr marL="68580" marR="68580" marT="34290" marB="34290" anchor="ctr">
                    <a:lnB w="381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880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олучатель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ИЖС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(тыс. чел.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КД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(тыс. чел.)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Размер компенсации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5980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.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еработающие пенсионеры в возрасте до 70 лет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9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986,8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3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5053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.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Лица в возрасте от 70 до 80 лет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32,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441,6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5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060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3.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Лица, достигшие возраста 80 лет и старш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75,4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51,5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3159"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3,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684,9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955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лн./год</a:t>
                      </a:r>
                    </a:p>
                  </a:txBody>
                  <a:tcPr marL="68580" marR="68580" marT="34290" marB="34290" anchor="ctr">
                    <a:lnL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9528A67-B59F-2B49-8D8E-85AE96170DE5}"/>
              </a:ext>
            </a:extLst>
          </p:cNvPr>
          <p:cNvSpPr txBox="1"/>
          <p:nvPr/>
        </p:nvSpPr>
        <p:spPr>
          <a:xfrm>
            <a:off x="630539" y="4492067"/>
            <a:ext cx="8053252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13" baseline="30000" dirty="0">
                <a:cs typeface="Times New Roman" panose="02020603050405020304" pitchFamily="18" charset="0"/>
              </a:rPr>
              <a:t>* </a:t>
            </a:r>
            <a:r>
              <a:rPr lang="ru-RU" sz="1013" dirty="0">
                <a:cs typeface="Times New Roman" panose="02020603050405020304" pitchFamily="18" charset="0"/>
              </a:rPr>
              <a:t>Закон принят Московской областной Думой 21.02.2019</a:t>
            </a:r>
          </a:p>
        </p:txBody>
      </p:sp>
    </p:spTree>
    <p:extLst>
      <p:ext uri="{BB962C8B-B14F-4D97-AF65-F5344CB8AC3E}">
        <p14:creationId xmlns:p14="http://schemas.microsoft.com/office/powerpoint/2010/main" val="2529607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F577267-E47D-B643-9237-1E6571C816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332399"/>
          </a:xfrm>
        </p:spPr>
        <p:txBody>
          <a:bodyPr/>
          <a:lstStyle/>
          <a:p>
            <a:r>
              <a:rPr lang="ru-RU" dirty="0"/>
              <a:t>Региональные операторы по обращению с ТКО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41686FB0-B227-784B-9F21-7DA0AF0383C1}"/>
              </a:ext>
            </a:extLst>
          </p:cNvPr>
          <p:cNvGrpSpPr/>
          <p:nvPr/>
        </p:nvGrpSpPr>
        <p:grpSpPr>
          <a:xfrm>
            <a:off x="369234" y="899671"/>
            <a:ext cx="4186199" cy="3693859"/>
            <a:chOff x="171133" y="703882"/>
            <a:chExt cx="4238399" cy="3601103"/>
          </a:xfrm>
        </p:grpSpPr>
        <p:grpSp>
          <p:nvGrpSpPr>
            <p:cNvPr id="5" name="Group 117">
              <a:extLst>
                <a:ext uri="{FF2B5EF4-FFF2-40B4-BE49-F238E27FC236}">
                  <a16:creationId xmlns:a16="http://schemas.microsoft.com/office/drawing/2014/main" xmlns="" id="{E0FDB4CD-1D6C-164A-9741-B904D144D324}"/>
                </a:ext>
              </a:extLst>
            </p:cNvPr>
            <p:cNvGrpSpPr/>
            <p:nvPr/>
          </p:nvGrpSpPr>
          <p:grpSpPr>
            <a:xfrm>
              <a:off x="171133" y="703882"/>
              <a:ext cx="4238399" cy="3601103"/>
              <a:chOff x="206918" y="0"/>
              <a:chExt cx="4540605" cy="3857866"/>
            </a:xfrm>
          </p:grpSpPr>
          <p:pic>
            <p:nvPicPr>
              <p:cNvPr id="9" name="image3.png">
                <a:extLst>
                  <a:ext uri="{FF2B5EF4-FFF2-40B4-BE49-F238E27FC236}">
                    <a16:creationId xmlns:a16="http://schemas.microsoft.com/office/drawing/2014/main" xmlns="" id="{63B9E0F4-DC3C-5040-B0BE-1BB53F0CE7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/>
              </a:blip>
              <a:srcRect l="4142" r="2877"/>
              <a:stretch/>
            </p:blipFill>
            <p:spPr>
              <a:xfrm>
                <a:off x="206918" y="0"/>
                <a:ext cx="4540605" cy="3857866"/>
              </a:xfrm>
              <a:prstGeom prst="rect">
                <a:avLst/>
              </a:prstGeom>
              <a:ln w="12700" cap="flat">
                <a:solidFill>
                  <a:schemeClr val="accent6">
                    <a:lumMod val="75000"/>
                  </a:schemeClr>
                </a:solidFill>
                <a:miter lim="400000"/>
              </a:ln>
              <a:effectLst/>
            </p:spPr>
          </p:pic>
          <p:sp>
            <p:nvSpPr>
              <p:cNvPr id="10" name="Shape 92">
                <a:extLst>
                  <a:ext uri="{FF2B5EF4-FFF2-40B4-BE49-F238E27FC236}">
                    <a16:creationId xmlns:a16="http://schemas.microsoft.com/office/drawing/2014/main" xmlns="" id="{F92EF5AA-F72C-1346-9CDC-BC163B90CE54}"/>
                  </a:ext>
                </a:extLst>
              </p:cNvPr>
              <p:cNvSpPr/>
              <p:nvPr/>
            </p:nvSpPr>
            <p:spPr>
              <a:xfrm>
                <a:off x="215453" y="758107"/>
                <a:ext cx="2082908" cy="18296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00" h="21516" extrusionOk="0">
                    <a:moveTo>
                      <a:pt x="683" y="7752"/>
                    </a:moveTo>
                    <a:cubicBezTo>
                      <a:pt x="700" y="7713"/>
                      <a:pt x="799" y="7708"/>
                      <a:pt x="830" y="7602"/>
                    </a:cubicBezTo>
                    <a:cubicBezTo>
                      <a:pt x="860" y="7496"/>
                      <a:pt x="818" y="7337"/>
                      <a:pt x="852" y="7256"/>
                    </a:cubicBezTo>
                    <a:cubicBezTo>
                      <a:pt x="885" y="7175"/>
                      <a:pt x="981" y="7135"/>
                      <a:pt x="1031" y="7118"/>
                    </a:cubicBezTo>
                    <a:cubicBezTo>
                      <a:pt x="1080" y="7100"/>
                      <a:pt x="1096" y="7144"/>
                      <a:pt x="1148" y="7153"/>
                    </a:cubicBezTo>
                    <a:cubicBezTo>
                      <a:pt x="1201" y="7161"/>
                      <a:pt x="1263" y="7001"/>
                      <a:pt x="1315" y="6962"/>
                    </a:cubicBezTo>
                    <a:cubicBezTo>
                      <a:pt x="1367" y="6923"/>
                      <a:pt x="1425" y="7045"/>
                      <a:pt x="1505" y="6953"/>
                    </a:cubicBezTo>
                    <a:cubicBezTo>
                      <a:pt x="1585" y="6860"/>
                      <a:pt x="1788" y="6533"/>
                      <a:pt x="1795" y="6407"/>
                    </a:cubicBezTo>
                    <a:cubicBezTo>
                      <a:pt x="1801" y="6282"/>
                      <a:pt x="1621" y="6234"/>
                      <a:pt x="1543" y="6202"/>
                    </a:cubicBezTo>
                    <a:cubicBezTo>
                      <a:pt x="1465" y="6169"/>
                      <a:pt x="1380" y="6289"/>
                      <a:pt x="1329" y="6211"/>
                    </a:cubicBezTo>
                    <a:cubicBezTo>
                      <a:pt x="1279" y="6133"/>
                      <a:pt x="1247" y="5843"/>
                      <a:pt x="1239" y="5735"/>
                    </a:cubicBezTo>
                    <a:cubicBezTo>
                      <a:pt x="1232" y="5626"/>
                      <a:pt x="1434" y="5633"/>
                      <a:pt x="1452" y="5579"/>
                    </a:cubicBezTo>
                    <a:cubicBezTo>
                      <a:pt x="1470" y="5525"/>
                      <a:pt x="1306" y="5464"/>
                      <a:pt x="1348" y="5410"/>
                    </a:cubicBezTo>
                    <a:cubicBezTo>
                      <a:pt x="1389" y="5356"/>
                      <a:pt x="1599" y="5336"/>
                      <a:pt x="1702" y="5253"/>
                    </a:cubicBezTo>
                    <a:cubicBezTo>
                      <a:pt x="1806" y="5170"/>
                      <a:pt x="1938" y="4980"/>
                      <a:pt x="1970" y="4913"/>
                    </a:cubicBezTo>
                    <a:cubicBezTo>
                      <a:pt x="2001" y="4847"/>
                      <a:pt x="1875" y="4895"/>
                      <a:pt x="1892" y="4853"/>
                    </a:cubicBezTo>
                    <a:cubicBezTo>
                      <a:pt x="1909" y="4811"/>
                      <a:pt x="2112" y="4688"/>
                      <a:pt x="2074" y="4663"/>
                    </a:cubicBezTo>
                    <a:cubicBezTo>
                      <a:pt x="2036" y="4637"/>
                      <a:pt x="1899" y="4674"/>
                      <a:pt x="1831" y="4628"/>
                    </a:cubicBezTo>
                    <a:cubicBezTo>
                      <a:pt x="1764" y="4582"/>
                      <a:pt x="1684" y="4542"/>
                      <a:pt x="1640" y="4475"/>
                    </a:cubicBezTo>
                    <a:cubicBezTo>
                      <a:pt x="1597" y="4408"/>
                      <a:pt x="1420" y="4332"/>
                      <a:pt x="1570" y="4228"/>
                    </a:cubicBezTo>
                    <a:cubicBezTo>
                      <a:pt x="1720" y="4123"/>
                      <a:pt x="2347" y="3889"/>
                      <a:pt x="2540" y="3846"/>
                    </a:cubicBezTo>
                    <a:cubicBezTo>
                      <a:pt x="2733" y="3803"/>
                      <a:pt x="2640" y="3956"/>
                      <a:pt x="2727" y="3971"/>
                    </a:cubicBezTo>
                    <a:cubicBezTo>
                      <a:pt x="2814" y="3986"/>
                      <a:pt x="3000" y="3942"/>
                      <a:pt x="3061" y="3884"/>
                    </a:cubicBezTo>
                    <a:cubicBezTo>
                      <a:pt x="3121" y="3827"/>
                      <a:pt x="3282" y="3586"/>
                      <a:pt x="3287" y="3506"/>
                    </a:cubicBezTo>
                    <a:cubicBezTo>
                      <a:pt x="3291" y="3425"/>
                      <a:pt x="3120" y="3452"/>
                      <a:pt x="3087" y="3403"/>
                    </a:cubicBezTo>
                    <a:cubicBezTo>
                      <a:pt x="3055" y="3354"/>
                      <a:pt x="3065" y="3257"/>
                      <a:pt x="3091" y="3210"/>
                    </a:cubicBezTo>
                    <a:cubicBezTo>
                      <a:pt x="3117" y="3164"/>
                      <a:pt x="3243" y="3193"/>
                      <a:pt x="3243" y="3124"/>
                    </a:cubicBezTo>
                    <a:cubicBezTo>
                      <a:pt x="3243" y="3054"/>
                      <a:pt x="3046" y="2919"/>
                      <a:pt x="3000" y="2830"/>
                    </a:cubicBezTo>
                    <a:cubicBezTo>
                      <a:pt x="2954" y="2740"/>
                      <a:pt x="3312" y="2779"/>
                      <a:pt x="3304" y="2674"/>
                    </a:cubicBezTo>
                    <a:cubicBezTo>
                      <a:pt x="3295" y="2569"/>
                      <a:pt x="3075" y="2507"/>
                      <a:pt x="3042" y="2357"/>
                    </a:cubicBezTo>
                    <a:cubicBezTo>
                      <a:pt x="3009" y="2207"/>
                      <a:pt x="3073" y="1875"/>
                      <a:pt x="3106" y="1775"/>
                    </a:cubicBezTo>
                    <a:cubicBezTo>
                      <a:pt x="3140" y="1675"/>
                      <a:pt x="3261" y="1939"/>
                      <a:pt x="3334" y="1879"/>
                    </a:cubicBezTo>
                    <a:cubicBezTo>
                      <a:pt x="3407" y="1818"/>
                      <a:pt x="3471" y="1644"/>
                      <a:pt x="3486" y="1567"/>
                    </a:cubicBezTo>
                    <a:cubicBezTo>
                      <a:pt x="3500" y="1491"/>
                      <a:pt x="3410" y="1297"/>
                      <a:pt x="3329" y="1297"/>
                    </a:cubicBezTo>
                    <a:cubicBezTo>
                      <a:pt x="3248" y="1297"/>
                      <a:pt x="3144" y="1564"/>
                      <a:pt x="3000" y="1567"/>
                    </a:cubicBezTo>
                    <a:cubicBezTo>
                      <a:pt x="2856" y="1570"/>
                      <a:pt x="2548" y="1605"/>
                      <a:pt x="2513" y="1522"/>
                    </a:cubicBezTo>
                    <a:cubicBezTo>
                      <a:pt x="2478" y="1438"/>
                      <a:pt x="2610" y="983"/>
                      <a:pt x="2681" y="858"/>
                    </a:cubicBezTo>
                    <a:cubicBezTo>
                      <a:pt x="2752" y="733"/>
                      <a:pt x="2959" y="919"/>
                      <a:pt x="2939" y="772"/>
                    </a:cubicBezTo>
                    <a:cubicBezTo>
                      <a:pt x="2920" y="625"/>
                      <a:pt x="2689" y="666"/>
                      <a:pt x="2657" y="597"/>
                    </a:cubicBezTo>
                    <a:cubicBezTo>
                      <a:pt x="2624" y="528"/>
                      <a:pt x="2682" y="371"/>
                      <a:pt x="2742" y="357"/>
                    </a:cubicBezTo>
                    <a:cubicBezTo>
                      <a:pt x="2802" y="343"/>
                      <a:pt x="2949" y="291"/>
                      <a:pt x="3061" y="340"/>
                    </a:cubicBezTo>
                    <a:cubicBezTo>
                      <a:pt x="3172" y="388"/>
                      <a:pt x="2990" y="609"/>
                      <a:pt x="3076" y="667"/>
                    </a:cubicBezTo>
                    <a:cubicBezTo>
                      <a:pt x="3162" y="725"/>
                      <a:pt x="3414" y="801"/>
                      <a:pt x="3577" y="685"/>
                    </a:cubicBezTo>
                    <a:cubicBezTo>
                      <a:pt x="3739" y="570"/>
                      <a:pt x="4171" y="78"/>
                      <a:pt x="4323" y="11"/>
                    </a:cubicBezTo>
                    <a:cubicBezTo>
                      <a:pt x="4475" y="-55"/>
                      <a:pt x="4409" y="198"/>
                      <a:pt x="4487" y="288"/>
                    </a:cubicBezTo>
                    <a:cubicBezTo>
                      <a:pt x="4565" y="377"/>
                      <a:pt x="4594" y="184"/>
                      <a:pt x="4730" y="305"/>
                    </a:cubicBezTo>
                    <a:cubicBezTo>
                      <a:pt x="4867" y="426"/>
                      <a:pt x="5335" y="947"/>
                      <a:pt x="5459" y="1083"/>
                    </a:cubicBezTo>
                    <a:cubicBezTo>
                      <a:pt x="5583" y="1219"/>
                      <a:pt x="5437" y="1350"/>
                      <a:pt x="5536" y="1363"/>
                    </a:cubicBezTo>
                    <a:cubicBezTo>
                      <a:pt x="5635" y="1377"/>
                      <a:pt x="5880" y="1215"/>
                      <a:pt x="6055" y="1165"/>
                    </a:cubicBezTo>
                    <a:cubicBezTo>
                      <a:pt x="6115" y="1172"/>
                      <a:pt x="6480" y="1312"/>
                      <a:pt x="6541" y="1319"/>
                    </a:cubicBezTo>
                    <a:cubicBezTo>
                      <a:pt x="6649" y="1375"/>
                      <a:pt x="6773" y="1410"/>
                      <a:pt x="6825" y="1481"/>
                    </a:cubicBezTo>
                    <a:cubicBezTo>
                      <a:pt x="6877" y="1552"/>
                      <a:pt x="6674" y="1744"/>
                      <a:pt x="6852" y="1746"/>
                    </a:cubicBezTo>
                    <a:cubicBezTo>
                      <a:pt x="7041" y="1771"/>
                      <a:pt x="7385" y="1790"/>
                      <a:pt x="7532" y="1769"/>
                    </a:cubicBezTo>
                    <a:cubicBezTo>
                      <a:pt x="7679" y="1748"/>
                      <a:pt x="7628" y="1610"/>
                      <a:pt x="7735" y="1619"/>
                    </a:cubicBezTo>
                    <a:cubicBezTo>
                      <a:pt x="7843" y="1629"/>
                      <a:pt x="8168" y="1659"/>
                      <a:pt x="8267" y="1706"/>
                    </a:cubicBezTo>
                    <a:cubicBezTo>
                      <a:pt x="8365" y="1753"/>
                      <a:pt x="8287" y="1907"/>
                      <a:pt x="8327" y="1901"/>
                    </a:cubicBezTo>
                    <a:cubicBezTo>
                      <a:pt x="8368" y="1895"/>
                      <a:pt x="8466" y="1666"/>
                      <a:pt x="8509" y="1671"/>
                    </a:cubicBezTo>
                    <a:cubicBezTo>
                      <a:pt x="8553" y="1676"/>
                      <a:pt x="8651" y="1821"/>
                      <a:pt x="8692" y="1913"/>
                    </a:cubicBezTo>
                    <a:cubicBezTo>
                      <a:pt x="8732" y="2005"/>
                      <a:pt x="8588" y="2230"/>
                      <a:pt x="8616" y="2311"/>
                    </a:cubicBezTo>
                    <a:cubicBezTo>
                      <a:pt x="8644" y="2392"/>
                      <a:pt x="8740" y="2502"/>
                      <a:pt x="8785" y="2345"/>
                    </a:cubicBezTo>
                    <a:cubicBezTo>
                      <a:pt x="9085" y="2071"/>
                      <a:pt x="8706" y="1853"/>
                      <a:pt x="9007" y="1579"/>
                    </a:cubicBezTo>
                    <a:cubicBezTo>
                      <a:pt x="9057" y="1401"/>
                      <a:pt x="9044" y="1345"/>
                      <a:pt x="9101" y="1273"/>
                    </a:cubicBezTo>
                    <a:cubicBezTo>
                      <a:pt x="9159" y="1202"/>
                      <a:pt x="9231" y="1088"/>
                      <a:pt x="9412" y="1028"/>
                    </a:cubicBezTo>
                    <a:lnTo>
                      <a:pt x="10262" y="1175"/>
                    </a:lnTo>
                    <a:cubicBezTo>
                      <a:pt x="10433" y="1193"/>
                      <a:pt x="10216" y="1142"/>
                      <a:pt x="10300" y="1083"/>
                    </a:cubicBezTo>
                    <a:cubicBezTo>
                      <a:pt x="10345" y="1033"/>
                      <a:pt x="10495" y="988"/>
                      <a:pt x="10574" y="945"/>
                    </a:cubicBezTo>
                    <a:cubicBezTo>
                      <a:pt x="10652" y="902"/>
                      <a:pt x="10670" y="769"/>
                      <a:pt x="10771" y="824"/>
                    </a:cubicBezTo>
                    <a:cubicBezTo>
                      <a:pt x="10872" y="879"/>
                      <a:pt x="11171" y="968"/>
                      <a:pt x="11317" y="1118"/>
                    </a:cubicBezTo>
                    <a:cubicBezTo>
                      <a:pt x="11464" y="1268"/>
                      <a:pt x="11398" y="1314"/>
                      <a:pt x="11651" y="1723"/>
                    </a:cubicBezTo>
                    <a:cubicBezTo>
                      <a:pt x="11904" y="2132"/>
                      <a:pt x="12410" y="3236"/>
                      <a:pt x="12638" y="3418"/>
                    </a:cubicBezTo>
                    <a:cubicBezTo>
                      <a:pt x="12866" y="3599"/>
                      <a:pt x="13043" y="3112"/>
                      <a:pt x="13184" y="2985"/>
                    </a:cubicBezTo>
                    <a:cubicBezTo>
                      <a:pt x="13326" y="2858"/>
                      <a:pt x="13113" y="2567"/>
                      <a:pt x="13230" y="2501"/>
                    </a:cubicBezTo>
                    <a:cubicBezTo>
                      <a:pt x="13346" y="2435"/>
                      <a:pt x="13665" y="2619"/>
                      <a:pt x="13867" y="2674"/>
                    </a:cubicBezTo>
                    <a:cubicBezTo>
                      <a:pt x="14070" y="2729"/>
                      <a:pt x="14085" y="2668"/>
                      <a:pt x="14444" y="2830"/>
                    </a:cubicBezTo>
                    <a:cubicBezTo>
                      <a:pt x="14803" y="2991"/>
                      <a:pt x="15276" y="3392"/>
                      <a:pt x="15582" y="3556"/>
                    </a:cubicBezTo>
                    <a:cubicBezTo>
                      <a:pt x="15888" y="3720"/>
                      <a:pt x="16169" y="4118"/>
                      <a:pt x="16356" y="4213"/>
                    </a:cubicBezTo>
                    <a:cubicBezTo>
                      <a:pt x="16544" y="4308"/>
                      <a:pt x="16685" y="4432"/>
                      <a:pt x="16842" y="4576"/>
                    </a:cubicBezTo>
                    <a:cubicBezTo>
                      <a:pt x="16999" y="4720"/>
                      <a:pt x="17161" y="4665"/>
                      <a:pt x="17510" y="5026"/>
                    </a:cubicBezTo>
                    <a:cubicBezTo>
                      <a:pt x="17859" y="5386"/>
                      <a:pt x="18433" y="6268"/>
                      <a:pt x="18921" y="6876"/>
                    </a:cubicBezTo>
                    <a:cubicBezTo>
                      <a:pt x="19410" y="7484"/>
                      <a:pt x="19992" y="8337"/>
                      <a:pt x="20409" y="8830"/>
                    </a:cubicBezTo>
                    <a:cubicBezTo>
                      <a:pt x="20825" y="9322"/>
                      <a:pt x="21253" y="9620"/>
                      <a:pt x="21421" y="9831"/>
                    </a:cubicBezTo>
                    <a:cubicBezTo>
                      <a:pt x="21588" y="10042"/>
                      <a:pt x="21439" y="9919"/>
                      <a:pt x="21443" y="9940"/>
                    </a:cubicBezTo>
                    <a:cubicBezTo>
                      <a:pt x="21447" y="9962"/>
                      <a:pt x="21489" y="9987"/>
                      <a:pt x="21443" y="9959"/>
                    </a:cubicBezTo>
                    <a:cubicBezTo>
                      <a:pt x="21396" y="9931"/>
                      <a:pt x="21446" y="10006"/>
                      <a:pt x="21377" y="9978"/>
                    </a:cubicBezTo>
                    <a:cubicBezTo>
                      <a:pt x="21309" y="9950"/>
                      <a:pt x="21355" y="10071"/>
                      <a:pt x="21262" y="10053"/>
                    </a:cubicBezTo>
                    <a:cubicBezTo>
                      <a:pt x="21169" y="10034"/>
                      <a:pt x="21213" y="10118"/>
                      <a:pt x="21098" y="10109"/>
                    </a:cubicBezTo>
                    <a:cubicBezTo>
                      <a:pt x="20983" y="10099"/>
                      <a:pt x="21189" y="10112"/>
                      <a:pt x="20967" y="10165"/>
                    </a:cubicBezTo>
                    <a:cubicBezTo>
                      <a:pt x="20746" y="10218"/>
                      <a:pt x="20595" y="10470"/>
                      <a:pt x="20491" y="10576"/>
                    </a:cubicBezTo>
                    <a:cubicBezTo>
                      <a:pt x="20387" y="10682"/>
                      <a:pt x="20956" y="10620"/>
                      <a:pt x="21033" y="10707"/>
                    </a:cubicBezTo>
                    <a:cubicBezTo>
                      <a:pt x="21109" y="10794"/>
                      <a:pt x="20959" y="11059"/>
                      <a:pt x="20885" y="11174"/>
                    </a:cubicBezTo>
                    <a:cubicBezTo>
                      <a:pt x="20811" y="11289"/>
                      <a:pt x="20663" y="11324"/>
                      <a:pt x="20590" y="11399"/>
                    </a:cubicBezTo>
                    <a:cubicBezTo>
                      <a:pt x="20516" y="11473"/>
                      <a:pt x="20319" y="11548"/>
                      <a:pt x="20360" y="11585"/>
                    </a:cubicBezTo>
                    <a:cubicBezTo>
                      <a:pt x="20401" y="11623"/>
                      <a:pt x="20707" y="11554"/>
                      <a:pt x="20787" y="11623"/>
                    </a:cubicBezTo>
                    <a:cubicBezTo>
                      <a:pt x="20866" y="11691"/>
                      <a:pt x="20789" y="11941"/>
                      <a:pt x="20836" y="11997"/>
                    </a:cubicBezTo>
                    <a:cubicBezTo>
                      <a:pt x="20882" y="12053"/>
                      <a:pt x="20995" y="12106"/>
                      <a:pt x="20901" y="12221"/>
                    </a:cubicBezTo>
                    <a:cubicBezTo>
                      <a:pt x="20808" y="12336"/>
                      <a:pt x="20732" y="12569"/>
                      <a:pt x="20276" y="12688"/>
                    </a:cubicBezTo>
                    <a:cubicBezTo>
                      <a:pt x="20197" y="12906"/>
                      <a:pt x="18942" y="13650"/>
                      <a:pt x="18377" y="13939"/>
                    </a:cubicBezTo>
                    <a:cubicBezTo>
                      <a:pt x="17812" y="14228"/>
                      <a:pt x="17085" y="13819"/>
                      <a:pt x="16884" y="14423"/>
                    </a:cubicBezTo>
                    <a:cubicBezTo>
                      <a:pt x="16684" y="15027"/>
                      <a:pt x="17197" y="17041"/>
                      <a:pt x="17175" y="17565"/>
                    </a:cubicBezTo>
                    <a:cubicBezTo>
                      <a:pt x="17153" y="18088"/>
                      <a:pt x="16940" y="17307"/>
                      <a:pt x="16751" y="17562"/>
                    </a:cubicBezTo>
                    <a:cubicBezTo>
                      <a:pt x="16562" y="17817"/>
                      <a:pt x="15497" y="16541"/>
                      <a:pt x="15296" y="16983"/>
                    </a:cubicBezTo>
                    <a:cubicBezTo>
                      <a:pt x="15096" y="17424"/>
                      <a:pt x="15568" y="19713"/>
                      <a:pt x="15547" y="20210"/>
                    </a:cubicBezTo>
                    <a:cubicBezTo>
                      <a:pt x="15527" y="20707"/>
                      <a:pt x="15321" y="20035"/>
                      <a:pt x="15173" y="19966"/>
                    </a:cubicBezTo>
                    <a:cubicBezTo>
                      <a:pt x="15024" y="19896"/>
                      <a:pt x="15080" y="20112"/>
                      <a:pt x="14914" y="20069"/>
                    </a:cubicBezTo>
                    <a:cubicBezTo>
                      <a:pt x="14749" y="20027"/>
                      <a:pt x="14329" y="19864"/>
                      <a:pt x="14166" y="19847"/>
                    </a:cubicBezTo>
                    <a:cubicBezTo>
                      <a:pt x="14004" y="19830"/>
                      <a:pt x="14009" y="19983"/>
                      <a:pt x="13939" y="19968"/>
                    </a:cubicBezTo>
                    <a:cubicBezTo>
                      <a:pt x="13868" y="19954"/>
                      <a:pt x="13753" y="19853"/>
                      <a:pt x="13741" y="19761"/>
                    </a:cubicBezTo>
                    <a:cubicBezTo>
                      <a:pt x="13729" y="19668"/>
                      <a:pt x="13837" y="19510"/>
                      <a:pt x="13867" y="19412"/>
                    </a:cubicBezTo>
                    <a:cubicBezTo>
                      <a:pt x="13898" y="19314"/>
                      <a:pt x="13805" y="19149"/>
                      <a:pt x="13787" y="19069"/>
                    </a:cubicBezTo>
                    <a:cubicBezTo>
                      <a:pt x="13768" y="18989"/>
                      <a:pt x="13812" y="18971"/>
                      <a:pt x="13756" y="18931"/>
                    </a:cubicBezTo>
                    <a:cubicBezTo>
                      <a:pt x="13701" y="18890"/>
                      <a:pt x="13727" y="18752"/>
                      <a:pt x="13696" y="18723"/>
                    </a:cubicBezTo>
                    <a:cubicBezTo>
                      <a:pt x="13664" y="18695"/>
                      <a:pt x="13584" y="18780"/>
                      <a:pt x="13569" y="18760"/>
                    </a:cubicBezTo>
                    <a:cubicBezTo>
                      <a:pt x="13554" y="18739"/>
                      <a:pt x="13576" y="18686"/>
                      <a:pt x="13529" y="18706"/>
                    </a:cubicBezTo>
                    <a:cubicBezTo>
                      <a:pt x="13482" y="18726"/>
                      <a:pt x="13354" y="18789"/>
                      <a:pt x="13286" y="18879"/>
                    </a:cubicBezTo>
                    <a:cubicBezTo>
                      <a:pt x="13218" y="18968"/>
                      <a:pt x="13172" y="19144"/>
                      <a:pt x="13119" y="19242"/>
                    </a:cubicBezTo>
                    <a:cubicBezTo>
                      <a:pt x="13066" y="19340"/>
                      <a:pt x="13035" y="19435"/>
                      <a:pt x="12967" y="19467"/>
                    </a:cubicBezTo>
                    <a:cubicBezTo>
                      <a:pt x="12900" y="19498"/>
                      <a:pt x="12767" y="19470"/>
                      <a:pt x="12714" y="19430"/>
                    </a:cubicBezTo>
                    <a:cubicBezTo>
                      <a:pt x="12661" y="19389"/>
                      <a:pt x="12634" y="19406"/>
                      <a:pt x="12557" y="19449"/>
                    </a:cubicBezTo>
                    <a:cubicBezTo>
                      <a:pt x="12457" y="19659"/>
                      <a:pt x="12274" y="19536"/>
                      <a:pt x="12178" y="19536"/>
                    </a:cubicBezTo>
                    <a:cubicBezTo>
                      <a:pt x="12082" y="19536"/>
                      <a:pt x="12035" y="19461"/>
                      <a:pt x="11981" y="19449"/>
                    </a:cubicBezTo>
                    <a:cubicBezTo>
                      <a:pt x="11926" y="19437"/>
                      <a:pt x="11898" y="19407"/>
                      <a:pt x="11849" y="19464"/>
                    </a:cubicBezTo>
                    <a:cubicBezTo>
                      <a:pt x="11799" y="19521"/>
                      <a:pt x="11734" y="19734"/>
                      <a:pt x="11684" y="19791"/>
                    </a:cubicBezTo>
                    <a:cubicBezTo>
                      <a:pt x="11633" y="19849"/>
                      <a:pt x="11592" y="19740"/>
                      <a:pt x="11545" y="19810"/>
                    </a:cubicBezTo>
                    <a:cubicBezTo>
                      <a:pt x="11498" y="19880"/>
                      <a:pt x="11690" y="20046"/>
                      <a:pt x="11647" y="20158"/>
                    </a:cubicBezTo>
                    <a:cubicBezTo>
                      <a:pt x="11604" y="20271"/>
                      <a:pt x="11373" y="20369"/>
                      <a:pt x="11287" y="20484"/>
                    </a:cubicBezTo>
                    <a:cubicBezTo>
                      <a:pt x="11201" y="20600"/>
                      <a:pt x="11179" y="20769"/>
                      <a:pt x="11131" y="20850"/>
                    </a:cubicBezTo>
                    <a:cubicBezTo>
                      <a:pt x="11082" y="20931"/>
                      <a:pt x="11057" y="20905"/>
                      <a:pt x="10994" y="20971"/>
                    </a:cubicBezTo>
                    <a:cubicBezTo>
                      <a:pt x="10932" y="21037"/>
                      <a:pt x="10827" y="21207"/>
                      <a:pt x="10756" y="21245"/>
                    </a:cubicBezTo>
                    <a:cubicBezTo>
                      <a:pt x="10685" y="21283"/>
                      <a:pt x="10612" y="21213"/>
                      <a:pt x="10569" y="21199"/>
                    </a:cubicBezTo>
                    <a:cubicBezTo>
                      <a:pt x="10525" y="21185"/>
                      <a:pt x="10526" y="21170"/>
                      <a:pt x="10493" y="21161"/>
                    </a:cubicBezTo>
                    <a:cubicBezTo>
                      <a:pt x="10460" y="21152"/>
                      <a:pt x="10422" y="21139"/>
                      <a:pt x="10372" y="21144"/>
                    </a:cubicBezTo>
                    <a:cubicBezTo>
                      <a:pt x="10322" y="21149"/>
                      <a:pt x="10252" y="21196"/>
                      <a:pt x="10194" y="21193"/>
                    </a:cubicBezTo>
                    <a:cubicBezTo>
                      <a:pt x="10136" y="21190"/>
                      <a:pt x="10096" y="21135"/>
                      <a:pt x="10023" y="21127"/>
                    </a:cubicBezTo>
                    <a:cubicBezTo>
                      <a:pt x="9949" y="21118"/>
                      <a:pt x="9843" y="21078"/>
                      <a:pt x="9754" y="21141"/>
                    </a:cubicBezTo>
                    <a:cubicBezTo>
                      <a:pt x="9666" y="21205"/>
                      <a:pt x="9568" y="21469"/>
                      <a:pt x="9491" y="21507"/>
                    </a:cubicBezTo>
                    <a:cubicBezTo>
                      <a:pt x="9415" y="21545"/>
                      <a:pt x="9362" y="21464"/>
                      <a:pt x="9294" y="21369"/>
                    </a:cubicBezTo>
                    <a:cubicBezTo>
                      <a:pt x="9226" y="21274"/>
                      <a:pt x="9145" y="21011"/>
                      <a:pt x="9082" y="20936"/>
                    </a:cubicBezTo>
                    <a:cubicBezTo>
                      <a:pt x="9018" y="20862"/>
                      <a:pt x="8991" y="20968"/>
                      <a:pt x="8915" y="20919"/>
                    </a:cubicBezTo>
                    <a:cubicBezTo>
                      <a:pt x="8839" y="20870"/>
                      <a:pt x="8735" y="20657"/>
                      <a:pt x="8626" y="20643"/>
                    </a:cubicBezTo>
                    <a:cubicBezTo>
                      <a:pt x="8518" y="20628"/>
                      <a:pt x="8378" y="20827"/>
                      <a:pt x="8262" y="20833"/>
                    </a:cubicBezTo>
                    <a:cubicBezTo>
                      <a:pt x="8146" y="20839"/>
                      <a:pt x="8024" y="20769"/>
                      <a:pt x="7928" y="20677"/>
                    </a:cubicBezTo>
                    <a:cubicBezTo>
                      <a:pt x="7832" y="20585"/>
                      <a:pt x="7781" y="20335"/>
                      <a:pt x="7685" y="20279"/>
                    </a:cubicBezTo>
                    <a:cubicBezTo>
                      <a:pt x="7590" y="20224"/>
                      <a:pt x="7444" y="20321"/>
                      <a:pt x="7356" y="20346"/>
                    </a:cubicBezTo>
                    <a:cubicBezTo>
                      <a:pt x="7268" y="20372"/>
                      <a:pt x="7174" y="20219"/>
                      <a:pt x="7098" y="20242"/>
                    </a:cubicBezTo>
                    <a:cubicBezTo>
                      <a:pt x="7022" y="20265"/>
                      <a:pt x="6966" y="20450"/>
                      <a:pt x="6901" y="20484"/>
                    </a:cubicBezTo>
                    <a:cubicBezTo>
                      <a:pt x="6835" y="20519"/>
                      <a:pt x="6787" y="20372"/>
                      <a:pt x="6719" y="20346"/>
                    </a:cubicBezTo>
                    <a:cubicBezTo>
                      <a:pt x="6650" y="20320"/>
                      <a:pt x="6580" y="20562"/>
                      <a:pt x="6521" y="20554"/>
                    </a:cubicBezTo>
                    <a:cubicBezTo>
                      <a:pt x="6462" y="20545"/>
                      <a:pt x="6393" y="20371"/>
                      <a:pt x="6365" y="20297"/>
                    </a:cubicBezTo>
                    <a:cubicBezTo>
                      <a:pt x="6336" y="20222"/>
                      <a:pt x="6387" y="20147"/>
                      <a:pt x="6350" y="20106"/>
                    </a:cubicBezTo>
                    <a:cubicBezTo>
                      <a:pt x="6312" y="20066"/>
                      <a:pt x="6213" y="20098"/>
                      <a:pt x="6142" y="20052"/>
                    </a:cubicBezTo>
                    <a:cubicBezTo>
                      <a:pt x="6071" y="20006"/>
                      <a:pt x="5989" y="19876"/>
                      <a:pt x="5925" y="19830"/>
                    </a:cubicBezTo>
                    <a:cubicBezTo>
                      <a:pt x="5861" y="19784"/>
                      <a:pt x="5780" y="19818"/>
                      <a:pt x="5758" y="19778"/>
                    </a:cubicBezTo>
                    <a:cubicBezTo>
                      <a:pt x="5735" y="19738"/>
                      <a:pt x="5755" y="19611"/>
                      <a:pt x="5697" y="19588"/>
                    </a:cubicBezTo>
                    <a:cubicBezTo>
                      <a:pt x="5639" y="19565"/>
                      <a:pt x="5555" y="19619"/>
                      <a:pt x="5409" y="19640"/>
                    </a:cubicBezTo>
                    <a:cubicBezTo>
                      <a:pt x="5262" y="19660"/>
                      <a:pt x="5060" y="19712"/>
                      <a:pt x="4817" y="19709"/>
                    </a:cubicBezTo>
                    <a:cubicBezTo>
                      <a:pt x="4574" y="19706"/>
                      <a:pt x="4113" y="19600"/>
                      <a:pt x="3952" y="19622"/>
                    </a:cubicBezTo>
                    <a:cubicBezTo>
                      <a:pt x="3790" y="19645"/>
                      <a:pt x="3832" y="19773"/>
                      <a:pt x="3850" y="19845"/>
                    </a:cubicBezTo>
                    <a:cubicBezTo>
                      <a:pt x="3868" y="19917"/>
                      <a:pt x="4073" y="19908"/>
                      <a:pt x="4088" y="19968"/>
                    </a:cubicBezTo>
                    <a:cubicBezTo>
                      <a:pt x="4103" y="20029"/>
                      <a:pt x="4067" y="20165"/>
                      <a:pt x="3941" y="20208"/>
                    </a:cubicBezTo>
                    <a:cubicBezTo>
                      <a:pt x="3815" y="20251"/>
                      <a:pt x="3800" y="20130"/>
                      <a:pt x="3709" y="20176"/>
                    </a:cubicBezTo>
                    <a:cubicBezTo>
                      <a:pt x="3618" y="20222"/>
                      <a:pt x="3513" y="20430"/>
                      <a:pt x="3395" y="20484"/>
                    </a:cubicBezTo>
                    <a:cubicBezTo>
                      <a:pt x="3276" y="20539"/>
                      <a:pt x="3279" y="20392"/>
                      <a:pt x="3152" y="20398"/>
                    </a:cubicBezTo>
                    <a:cubicBezTo>
                      <a:pt x="3025" y="20404"/>
                      <a:pt x="2960" y="20585"/>
                      <a:pt x="2768" y="20556"/>
                    </a:cubicBezTo>
                    <a:cubicBezTo>
                      <a:pt x="2576" y="20527"/>
                      <a:pt x="2147" y="20338"/>
                      <a:pt x="1999" y="20222"/>
                    </a:cubicBezTo>
                    <a:cubicBezTo>
                      <a:pt x="1851" y="20106"/>
                      <a:pt x="1978" y="19987"/>
                      <a:pt x="1877" y="19862"/>
                    </a:cubicBezTo>
                    <a:cubicBezTo>
                      <a:pt x="1776" y="19737"/>
                      <a:pt x="1481" y="19595"/>
                      <a:pt x="1392" y="19474"/>
                    </a:cubicBezTo>
                    <a:cubicBezTo>
                      <a:pt x="1303" y="19353"/>
                      <a:pt x="1401" y="19214"/>
                      <a:pt x="1343" y="19138"/>
                    </a:cubicBezTo>
                    <a:cubicBezTo>
                      <a:pt x="1284" y="19061"/>
                      <a:pt x="1075" y="19071"/>
                      <a:pt x="1042" y="19015"/>
                    </a:cubicBezTo>
                    <a:cubicBezTo>
                      <a:pt x="1009" y="18959"/>
                      <a:pt x="1174" y="18963"/>
                      <a:pt x="1191" y="18905"/>
                    </a:cubicBezTo>
                    <a:cubicBezTo>
                      <a:pt x="1209" y="18847"/>
                      <a:pt x="1118" y="18751"/>
                      <a:pt x="1148" y="18669"/>
                    </a:cubicBezTo>
                    <a:cubicBezTo>
                      <a:pt x="1179" y="18586"/>
                      <a:pt x="1341" y="18504"/>
                      <a:pt x="1376" y="18409"/>
                    </a:cubicBezTo>
                    <a:cubicBezTo>
                      <a:pt x="1411" y="18314"/>
                      <a:pt x="1254" y="18091"/>
                      <a:pt x="1255" y="18012"/>
                    </a:cubicBezTo>
                    <a:cubicBezTo>
                      <a:pt x="1255" y="17933"/>
                      <a:pt x="1352" y="18005"/>
                      <a:pt x="1380" y="17936"/>
                    </a:cubicBezTo>
                    <a:cubicBezTo>
                      <a:pt x="1407" y="17867"/>
                      <a:pt x="1367" y="17707"/>
                      <a:pt x="1421" y="17597"/>
                    </a:cubicBezTo>
                    <a:cubicBezTo>
                      <a:pt x="1476" y="17487"/>
                      <a:pt x="1704" y="17334"/>
                      <a:pt x="1707" y="17276"/>
                    </a:cubicBezTo>
                    <a:cubicBezTo>
                      <a:pt x="1709" y="17219"/>
                      <a:pt x="1502" y="17295"/>
                      <a:pt x="1437" y="17251"/>
                    </a:cubicBezTo>
                    <a:cubicBezTo>
                      <a:pt x="1371" y="17206"/>
                      <a:pt x="1583" y="17082"/>
                      <a:pt x="1543" y="16957"/>
                    </a:cubicBezTo>
                    <a:cubicBezTo>
                      <a:pt x="1503" y="16832"/>
                      <a:pt x="1313" y="16736"/>
                      <a:pt x="1332" y="16658"/>
                    </a:cubicBezTo>
                    <a:cubicBezTo>
                      <a:pt x="1350" y="16579"/>
                      <a:pt x="1619" y="16545"/>
                      <a:pt x="1652" y="16485"/>
                    </a:cubicBezTo>
                    <a:cubicBezTo>
                      <a:pt x="1686" y="16424"/>
                      <a:pt x="1530" y="16351"/>
                      <a:pt x="1533" y="16296"/>
                    </a:cubicBezTo>
                    <a:cubicBezTo>
                      <a:pt x="1537" y="16241"/>
                      <a:pt x="1675" y="16213"/>
                      <a:pt x="1671" y="16153"/>
                    </a:cubicBezTo>
                    <a:cubicBezTo>
                      <a:pt x="1668" y="16093"/>
                      <a:pt x="1480" y="16041"/>
                      <a:pt x="1513" y="15937"/>
                    </a:cubicBezTo>
                    <a:cubicBezTo>
                      <a:pt x="1545" y="15833"/>
                      <a:pt x="1948" y="15761"/>
                      <a:pt x="1853" y="15634"/>
                    </a:cubicBezTo>
                    <a:cubicBezTo>
                      <a:pt x="1787" y="15472"/>
                      <a:pt x="1444" y="15438"/>
                      <a:pt x="1378" y="15276"/>
                    </a:cubicBezTo>
                    <a:lnTo>
                      <a:pt x="1384" y="14874"/>
                    </a:lnTo>
                    <a:cubicBezTo>
                      <a:pt x="1412" y="14803"/>
                      <a:pt x="1496" y="14909"/>
                      <a:pt x="1558" y="14899"/>
                    </a:cubicBezTo>
                    <a:cubicBezTo>
                      <a:pt x="1620" y="14889"/>
                      <a:pt x="1669" y="14790"/>
                      <a:pt x="1755" y="14813"/>
                    </a:cubicBezTo>
                    <a:cubicBezTo>
                      <a:pt x="1841" y="14836"/>
                      <a:pt x="1998" y="15006"/>
                      <a:pt x="2059" y="14986"/>
                    </a:cubicBezTo>
                    <a:cubicBezTo>
                      <a:pt x="2120" y="14965"/>
                      <a:pt x="1998" y="14824"/>
                      <a:pt x="2013" y="14726"/>
                    </a:cubicBezTo>
                    <a:cubicBezTo>
                      <a:pt x="2029" y="14628"/>
                      <a:pt x="2280" y="14540"/>
                      <a:pt x="2302" y="14450"/>
                    </a:cubicBezTo>
                    <a:cubicBezTo>
                      <a:pt x="2324" y="14359"/>
                      <a:pt x="2240" y="14250"/>
                      <a:pt x="2192" y="14184"/>
                    </a:cubicBezTo>
                    <a:cubicBezTo>
                      <a:pt x="2144" y="14118"/>
                      <a:pt x="2069" y="13959"/>
                      <a:pt x="2029" y="13914"/>
                    </a:cubicBezTo>
                    <a:cubicBezTo>
                      <a:pt x="1989" y="13869"/>
                      <a:pt x="1935" y="13994"/>
                      <a:pt x="1907" y="13914"/>
                    </a:cubicBezTo>
                    <a:cubicBezTo>
                      <a:pt x="1879" y="13833"/>
                      <a:pt x="1891" y="13644"/>
                      <a:pt x="1846" y="13568"/>
                    </a:cubicBezTo>
                    <a:cubicBezTo>
                      <a:pt x="1802" y="13491"/>
                      <a:pt x="1645" y="13551"/>
                      <a:pt x="1638" y="13455"/>
                    </a:cubicBezTo>
                    <a:cubicBezTo>
                      <a:pt x="1631" y="13359"/>
                      <a:pt x="1818" y="13113"/>
                      <a:pt x="1807" y="12994"/>
                    </a:cubicBezTo>
                    <a:cubicBezTo>
                      <a:pt x="1797" y="12874"/>
                      <a:pt x="1645" y="12882"/>
                      <a:pt x="1573" y="12738"/>
                    </a:cubicBezTo>
                    <a:cubicBezTo>
                      <a:pt x="1501" y="12593"/>
                      <a:pt x="1451" y="12277"/>
                      <a:pt x="1497" y="12179"/>
                    </a:cubicBezTo>
                    <a:cubicBezTo>
                      <a:pt x="1542" y="12081"/>
                      <a:pt x="1819" y="12233"/>
                      <a:pt x="1846" y="12150"/>
                    </a:cubicBezTo>
                    <a:cubicBezTo>
                      <a:pt x="1874" y="12067"/>
                      <a:pt x="1738" y="12036"/>
                      <a:pt x="1720" y="11907"/>
                    </a:cubicBezTo>
                    <a:cubicBezTo>
                      <a:pt x="1702" y="11777"/>
                      <a:pt x="1776" y="11491"/>
                      <a:pt x="1740" y="11372"/>
                    </a:cubicBezTo>
                    <a:cubicBezTo>
                      <a:pt x="1705" y="11253"/>
                      <a:pt x="1580" y="11302"/>
                      <a:pt x="1507" y="11279"/>
                    </a:cubicBezTo>
                    <a:cubicBezTo>
                      <a:pt x="1433" y="11256"/>
                      <a:pt x="1352" y="11274"/>
                      <a:pt x="1300" y="11233"/>
                    </a:cubicBezTo>
                    <a:cubicBezTo>
                      <a:pt x="1248" y="11193"/>
                      <a:pt x="1240" y="11059"/>
                      <a:pt x="1195" y="10950"/>
                    </a:cubicBezTo>
                    <a:cubicBezTo>
                      <a:pt x="1150" y="10840"/>
                      <a:pt x="1075" y="10529"/>
                      <a:pt x="1031" y="10576"/>
                    </a:cubicBezTo>
                    <a:cubicBezTo>
                      <a:pt x="987" y="10623"/>
                      <a:pt x="899" y="10473"/>
                      <a:pt x="883" y="10426"/>
                    </a:cubicBezTo>
                    <a:cubicBezTo>
                      <a:pt x="867" y="10380"/>
                      <a:pt x="959" y="10367"/>
                      <a:pt x="935" y="10297"/>
                    </a:cubicBezTo>
                    <a:cubicBezTo>
                      <a:pt x="911" y="10227"/>
                      <a:pt x="771" y="10095"/>
                      <a:pt x="738" y="10006"/>
                    </a:cubicBezTo>
                    <a:cubicBezTo>
                      <a:pt x="706" y="9917"/>
                      <a:pt x="736" y="9827"/>
                      <a:pt x="738" y="9764"/>
                    </a:cubicBezTo>
                    <a:cubicBezTo>
                      <a:pt x="741" y="9700"/>
                      <a:pt x="647" y="9738"/>
                      <a:pt x="647" y="9677"/>
                    </a:cubicBezTo>
                    <a:cubicBezTo>
                      <a:pt x="647" y="9617"/>
                      <a:pt x="784" y="9398"/>
                      <a:pt x="738" y="9400"/>
                    </a:cubicBezTo>
                    <a:cubicBezTo>
                      <a:pt x="693" y="9403"/>
                      <a:pt x="531" y="9588"/>
                      <a:pt x="480" y="9643"/>
                    </a:cubicBezTo>
                    <a:cubicBezTo>
                      <a:pt x="430" y="9697"/>
                      <a:pt x="458" y="9772"/>
                      <a:pt x="435" y="9729"/>
                    </a:cubicBezTo>
                    <a:cubicBezTo>
                      <a:pt x="412" y="9686"/>
                      <a:pt x="558" y="9450"/>
                      <a:pt x="526" y="9314"/>
                    </a:cubicBezTo>
                    <a:cubicBezTo>
                      <a:pt x="494" y="9178"/>
                      <a:pt x="13" y="8967"/>
                      <a:pt x="0" y="8722"/>
                    </a:cubicBezTo>
                    <a:cubicBezTo>
                      <a:pt x="-12" y="8477"/>
                      <a:pt x="381" y="8047"/>
                      <a:pt x="451" y="7842"/>
                    </a:cubicBezTo>
                  </a:path>
                </a:pathLst>
              </a:custGeom>
              <a:solidFill>
                <a:srgbClr val="6A8E1A">
                  <a:alpha val="4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11" name="Shape 93">
                <a:extLst>
                  <a:ext uri="{FF2B5EF4-FFF2-40B4-BE49-F238E27FC236}">
                    <a16:creationId xmlns:a16="http://schemas.microsoft.com/office/drawing/2014/main" xmlns="" id="{C6B933AD-CC32-1743-A984-9BA7C55460BA}"/>
                  </a:ext>
                </a:extLst>
              </p:cNvPr>
              <p:cNvSpPr/>
              <p:nvPr/>
            </p:nvSpPr>
            <p:spPr>
              <a:xfrm>
                <a:off x="1224474" y="585302"/>
                <a:ext cx="1164801" cy="10214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403" h="21467" extrusionOk="0">
                    <a:moveTo>
                      <a:pt x="18449" y="21392"/>
                    </a:moveTo>
                    <a:cubicBezTo>
                      <a:pt x="17324" y="19817"/>
                      <a:pt x="12817" y="13760"/>
                      <a:pt x="11546" y="12060"/>
                    </a:cubicBezTo>
                    <a:cubicBezTo>
                      <a:pt x="10276" y="10360"/>
                      <a:pt x="11770" y="12317"/>
                      <a:pt x="11546" y="12184"/>
                    </a:cubicBezTo>
                    <a:cubicBezTo>
                      <a:pt x="11323" y="12050"/>
                      <a:pt x="10705" y="11566"/>
                      <a:pt x="10207" y="11257"/>
                    </a:cubicBezTo>
                    <a:cubicBezTo>
                      <a:pt x="9709" y="10948"/>
                      <a:pt x="8567" y="9753"/>
                      <a:pt x="7838" y="9341"/>
                    </a:cubicBezTo>
                    <a:cubicBezTo>
                      <a:pt x="6366" y="8266"/>
                      <a:pt x="6249" y="8517"/>
                      <a:pt x="5777" y="8414"/>
                    </a:cubicBezTo>
                    <a:cubicBezTo>
                      <a:pt x="4073" y="7411"/>
                      <a:pt x="4987" y="8857"/>
                      <a:pt x="4592" y="9094"/>
                    </a:cubicBezTo>
                    <a:cubicBezTo>
                      <a:pt x="4197" y="9330"/>
                      <a:pt x="4180" y="10154"/>
                      <a:pt x="3665" y="9588"/>
                    </a:cubicBezTo>
                    <a:cubicBezTo>
                      <a:pt x="3013" y="8682"/>
                      <a:pt x="1948" y="6354"/>
                      <a:pt x="1296" y="5447"/>
                    </a:cubicBezTo>
                    <a:lnTo>
                      <a:pt x="643" y="5215"/>
                    </a:lnTo>
                    <a:cubicBezTo>
                      <a:pt x="-1138" y="3501"/>
                      <a:pt x="1255" y="4317"/>
                      <a:pt x="2120" y="4273"/>
                    </a:cubicBezTo>
                    <a:cubicBezTo>
                      <a:pt x="2452" y="4002"/>
                      <a:pt x="2398" y="3413"/>
                      <a:pt x="2715" y="3341"/>
                    </a:cubicBezTo>
                    <a:cubicBezTo>
                      <a:pt x="3033" y="3269"/>
                      <a:pt x="2918" y="3748"/>
                      <a:pt x="3176" y="3717"/>
                    </a:cubicBezTo>
                    <a:cubicBezTo>
                      <a:pt x="3433" y="3686"/>
                      <a:pt x="4136" y="3743"/>
                      <a:pt x="4338" y="3650"/>
                    </a:cubicBezTo>
                    <a:cubicBezTo>
                      <a:pt x="4540" y="3558"/>
                      <a:pt x="4481" y="3067"/>
                      <a:pt x="4592" y="2944"/>
                    </a:cubicBezTo>
                    <a:cubicBezTo>
                      <a:pt x="4703" y="2821"/>
                      <a:pt x="4845" y="2935"/>
                      <a:pt x="5004" y="2913"/>
                    </a:cubicBezTo>
                    <a:cubicBezTo>
                      <a:pt x="5164" y="2892"/>
                      <a:pt x="5419" y="2902"/>
                      <a:pt x="5548" y="2816"/>
                    </a:cubicBezTo>
                    <a:cubicBezTo>
                      <a:pt x="5678" y="2730"/>
                      <a:pt x="5621" y="2392"/>
                      <a:pt x="5784" y="2398"/>
                    </a:cubicBezTo>
                    <a:cubicBezTo>
                      <a:pt x="5946" y="2404"/>
                      <a:pt x="6410" y="2952"/>
                      <a:pt x="6524" y="2852"/>
                    </a:cubicBezTo>
                    <a:cubicBezTo>
                      <a:pt x="6639" y="2751"/>
                      <a:pt x="6094" y="2508"/>
                      <a:pt x="6365" y="2240"/>
                    </a:cubicBezTo>
                    <a:cubicBezTo>
                      <a:pt x="6635" y="1972"/>
                      <a:pt x="7789" y="1530"/>
                      <a:pt x="8147" y="1245"/>
                    </a:cubicBezTo>
                    <a:cubicBezTo>
                      <a:pt x="8504" y="960"/>
                      <a:pt x="8665" y="921"/>
                      <a:pt x="8794" y="715"/>
                    </a:cubicBezTo>
                    <a:cubicBezTo>
                      <a:pt x="8923" y="509"/>
                      <a:pt x="8722" y="101"/>
                      <a:pt x="8842" y="9"/>
                    </a:cubicBezTo>
                    <a:cubicBezTo>
                      <a:pt x="8962" y="-84"/>
                      <a:pt x="9656" y="556"/>
                      <a:pt x="9953" y="653"/>
                    </a:cubicBezTo>
                    <a:cubicBezTo>
                      <a:pt x="10249" y="750"/>
                      <a:pt x="10077" y="416"/>
                      <a:pt x="10185" y="406"/>
                    </a:cubicBezTo>
                    <a:cubicBezTo>
                      <a:pt x="10292" y="395"/>
                      <a:pt x="10151" y="585"/>
                      <a:pt x="10391" y="715"/>
                    </a:cubicBezTo>
                    <a:cubicBezTo>
                      <a:pt x="10630" y="844"/>
                      <a:pt x="11615" y="1054"/>
                      <a:pt x="11804" y="1183"/>
                    </a:cubicBezTo>
                    <a:cubicBezTo>
                      <a:pt x="11993" y="1312"/>
                      <a:pt x="11437" y="1267"/>
                      <a:pt x="11447" y="1364"/>
                    </a:cubicBezTo>
                    <a:cubicBezTo>
                      <a:pt x="11456" y="1461"/>
                      <a:pt x="11464" y="1667"/>
                      <a:pt x="11575" y="1704"/>
                    </a:cubicBezTo>
                    <a:cubicBezTo>
                      <a:pt x="11687" y="1740"/>
                      <a:pt x="11992" y="1616"/>
                      <a:pt x="12194" y="1704"/>
                    </a:cubicBezTo>
                    <a:cubicBezTo>
                      <a:pt x="12395" y="1791"/>
                      <a:pt x="12633" y="2237"/>
                      <a:pt x="12786" y="2229"/>
                    </a:cubicBezTo>
                    <a:cubicBezTo>
                      <a:pt x="12938" y="2221"/>
                      <a:pt x="12834" y="1776"/>
                      <a:pt x="13082" y="1963"/>
                    </a:cubicBezTo>
                    <a:cubicBezTo>
                      <a:pt x="13331" y="2149"/>
                      <a:pt x="14227" y="2962"/>
                      <a:pt x="14277" y="3346"/>
                    </a:cubicBezTo>
                    <a:cubicBezTo>
                      <a:pt x="14326" y="3730"/>
                      <a:pt x="13481" y="4104"/>
                      <a:pt x="13378" y="4268"/>
                    </a:cubicBezTo>
                    <a:cubicBezTo>
                      <a:pt x="13276" y="4432"/>
                      <a:pt x="13353" y="4495"/>
                      <a:pt x="13456" y="4515"/>
                    </a:cubicBezTo>
                    <a:cubicBezTo>
                      <a:pt x="13559" y="4536"/>
                      <a:pt x="13860" y="4515"/>
                      <a:pt x="13996" y="4515"/>
                    </a:cubicBezTo>
                    <a:cubicBezTo>
                      <a:pt x="14133" y="4516"/>
                      <a:pt x="14225" y="4304"/>
                      <a:pt x="14277" y="4520"/>
                    </a:cubicBezTo>
                    <a:cubicBezTo>
                      <a:pt x="14328" y="4737"/>
                      <a:pt x="14214" y="5423"/>
                      <a:pt x="14305" y="5813"/>
                    </a:cubicBezTo>
                    <a:cubicBezTo>
                      <a:pt x="14397" y="6204"/>
                      <a:pt x="14738" y="6610"/>
                      <a:pt x="14824" y="6863"/>
                    </a:cubicBezTo>
                    <a:cubicBezTo>
                      <a:pt x="15338" y="7687"/>
                      <a:pt x="14487" y="6503"/>
                      <a:pt x="15001" y="7327"/>
                    </a:cubicBezTo>
                    <a:lnTo>
                      <a:pt x="18378" y="12760"/>
                    </a:lnTo>
                    <a:cubicBezTo>
                      <a:pt x="19028" y="14016"/>
                      <a:pt x="18123" y="12862"/>
                      <a:pt x="18120" y="13301"/>
                    </a:cubicBezTo>
                    <a:cubicBezTo>
                      <a:pt x="18117" y="13740"/>
                      <a:pt x="18243" y="14838"/>
                      <a:pt x="18569" y="15456"/>
                    </a:cubicBezTo>
                    <a:cubicBezTo>
                      <a:pt x="18895" y="16074"/>
                      <a:pt x="19586" y="17056"/>
                      <a:pt x="19890" y="17421"/>
                    </a:cubicBezTo>
                    <a:cubicBezTo>
                      <a:pt x="20194" y="17785"/>
                      <a:pt x="20462" y="17279"/>
                      <a:pt x="20392" y="17643"/>
                    </a:cubicBezTo>
                    <a:cubicBezTo>
                      <a:pt x="20322" y="18006"/>
                      <a:pt x="19816" y="18953"/>
                      <a:pt x="19654" y="19191"/>
                    </a:cubicBezTo>
                    <a:cubicBezTo>
                      <a:pt x="19491" y="19429"/>
                      <a:pt x="19630" y="19105"/>
                      <a:pt x="19414" y="19069"/>
                    </a:cubicBezTo>
                    <a:cubicBezTo>
                      <a:pt x="19199" y="19032"/>
                      <a:pt x="18661" y="18816"/>
                      <a:pt x="18362" y="18971"/>
                    </a:cubicBezTo>
                    <a:cubicBezTo>
                      <a:pt x="18064" y="19127"/>
                      <a:pt x="17698" y="19789"/>
                      <a:pt x="17625" y="20001"/>
                    </a:cubicBezTo>
                    <a:cubicBezTo>
                      <a:pt x="18096" y="21141"/>
                      <a:pt x="18387" y="20736"/>
                      <a:pt x="18961" y="21103"/>
                    </a:cubicBezTo>
                    <a:cubicBezTo>
                      <a:pt x="19099" y="21432"/>
                      <a:pt x="18924" y="21246"/>
                      <a:pt x="18839" y="21295"/>
                    </a:cubicBezTo>
                    <a:cubicBezTo>
                      <a:pt x="18857" y="21476"/>
                      <a:pt x="19092" y="21350"/>
                      <a:pt x="18993" y="21233"/>
                    </a:cubicBezTo>
                    <a:cubicBezTo>
                      <a:pt x="19027" y="21346"/>
                      <a:pt x="18852" y="21361"/>
                      <a:pt x="18761" y="21387"/>
                    </a:cubicBezTo>
                    <a:cubicBezTo>
                      <a:pt x="18744" y="21516"/>
                      <a:pt x="18633" y="21448"/>
                      <a:pt x="18581" y="21449"/>
                    </a:cubicBezTo>
                  </a:path>
                </a:pathLst>
              </a:custGeom>
              <a:solidFill>
                <a:srgbClr val="353531">
                  <a:alpha val="4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12" name="Shape 94">
                <a:extLst>
                  <a:ext uri="{FF2B5EF4-FFF2-40B4-BE49-F238E27FC236}">
                    <a16:creationId xmlns:a16="http://schemas.microsoft.com/office/drawing/2014/main" xmlns="" id="{7CA595F3-4F3B-9449-AFEE-E005D6B4D0F3}"/>
                  </a:ext>
                </a:extLst>
              </p:cNvPr>
              <p:cNvSpPr/>
              <p:nvPr/>
            </p:nvSpPr>
            <p:spPr>
              <a:xfrm>
                <a:off x="1963588" y="63403"/>
                <a:ext cx="1265592" cy="15675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51" h="21581" extrusionOk="0">
                    <a:moveTo>
                      <a:pt x="11036" y="21581"/>
                    </a:moveTo>
                    <a:cubicBezTo>
                      <a:pt x="10835" y="21462"/>
                      <a:pt x="10330" y="21155"/>
                      <a:pt x="9984" y="20994"/>
                    </a:cubicBezTo>
                    <a:cubicBezTo>
                      <a:pt x="9639" y="20833"/>
                      <a:pt x="8939" y="20857"/>
                      <a:pt x="8613" y="20759"/>
                    </a:cubicBezTo>
                    <a:cubicBezTo>
                      <a:pt x="8288" y="20661"/>
                      <a:pt x="8291" y="20476"/>
                      <a:pt x="8031" y="20407"/>
                    </a:cubicBezTo>
                    <a:cubicBezTo>
                      <a:pt x="7772" y="20338"/>
                      <a:pt x="7806" y="20761"/>
                      <a:pt x="7731" y="20609"/>
                    </a:cubicBezTo>
                    <a:cubicBezTo>
                      <a:pt x="7656" y="20457"/>
                      <a:pt x="7923" y="19962"/>
                      <a:pt x="7731" y="19881"/>
                    </a:cubicBezTo>
                    <a:cubicBezTo>
                      <a:pt x="7539" y="19800"/>
                      <a:pt x="7289" y="19715"/>
                      <a:pt x="7180" y="19840"/>
                    </a:cubicBezTo>
                    <a:cubicBezTo>
                      <a:pt x="7072" y="19965"/>
                      <a:pt x="7613" y="20689"/>
                      <a:pt x="7105" y="20852"/>
                    </a:cubicBezTo>
                    <a:cubicBezTo>
                      <a:pt x="6458" y="20899"/>
                      <a:pt x="5776" y="21360"/>
                      <a:pt x="5408" y="21306"/>
                    </a:cubicBezTo>
                    <a:cubicBezTo>
                      <a:pt x="5041" y="21252"/>
                      <a:pt x="4965" y="20982"/>
                      <a:pt x="4826" y="20832"/>
                    </a:cubicBezTo>
                    <a:cubicBezTo>
                      <a:pt x="4688" y="20682"/>
                      <a:pt x="4534" y="20599"/>
                      <a:pt x="4576" y="20407"/>
                    </a:cubicBezTo>
                    <a:cubicBezTo>
                      <a:pt x="4618" y="20215"/>
                      <a:pt x="4667" y="19937"/>
                      <a:pt x="5002" y="19739"/>
                    </a:cubicBezTo>
                    <a:cubicBezTo>
                      <a:pt x="5337" y="19541"/>
                      <a:pt x="6680" y="19631"/>
                      <a:pt x="6835" y="19362"/>
                    </a:cubicBezTo>
                    <a:cubicBezTo>
                      <a:pt x="6769" y="19180"/>
                      <a:pt x="7395" y="18593"/>
                      <a:pt x="7336" y="18553"/>
                    </a:cubicBezTo>
                    <a:cubicBezTo>
                      <a:pt x="7278" y="18512"/>
                      <a:pt x="7211" y="18883"/>
                      <a:pt x="6986" y="18755"/>
                    </a:cubicBezTo>
                    <a:cubicBezTo>
                      <a:pt x="6760" y="18627"/>
                      <a:pt x="6109" y="17998"/>
                      <a:pt x="5984" y="17783"/>
                    </a:cubicBezTo>
                    <a:cubicBezTo>
                      <a:pt x="5859" y="17569"/>
                      <a:pt x="6051" y="17617"/>
                      <a:pt x="6034" y="17549"/>
                    </a:cubicBezTo>
                    <a:cubicBezTo>
                      <a:pt x="6018" y="17482"/>
                      <a:pt x="5826" y="17751"/>
                      <a:pt x="5634" y="17622"/>
                    </a:cubicBezTo>
                    <a:cubicBezTo>
                      <a:pt x="5442" y="17492"/>
                      <a:pt x="5363" y="16999"/>
                      <a:pt x="5233" y="16771"/>
                    </a:cubicBezTo>
                    <a:cubicBezTo>
                      <a:pt x="5103" y="16543"/>
                      <a:pt x="5152" y="16367"/>
                      <a:pt x="5152" y="16253"/>
                    </a:cubicBezTo>
                    <a:cubicBezTo>
                      <a:pt x="5152" y="16138"/>
                      <a:pt x="4836" y="16159"/>
                      <a:pt x="4882" y="16083"/>
                    </a:cubicBezTo>
                    <a:cubicBezTo>
                      <a:pt x="4929" y="16008"/>
                      <a:pt x="5074" y="15867"/>
                      <a:pt x="5133" y="15800"/>
                    </a:cubicBezTo>
                    <a:cubicBezTo>
                      <a:pt x="5191" y="15732"/>
                      <a:pt x="5809" y="16333"/>
                      <a:pt x="5233" y="15678"/>
                    </a:cubicBezTo>
                    <a:cubicBezTo>
                      <a:pt x="4657" y="15024"/>
                      <a:pt x="2045" y="12257"/>
                      <a:pt x="1928" y="11994"/>
                    </a:cubicBezTo>
                    <a:cubicBezTo>
                      <a:pt x="1811" y="11731"/>
                      <a:pt x="1652" y="11427"/>
                      <a:pt x="1477" y="11144"/>
                    </a:cubicBezTo>
                    <a:cubicBezTo>
                      <a:pt x="1252" y="11135"/>
                      <a:pt x="1410" y="10354"/>
                      <a:pt x="1177" y="10212"/>
                    </a:cubicBezTo>
                    <a:cubicBezTo>
                      <a:pt x="943" y="10071"/>
                      <a:pt x="526" y="10266"/>
                      <a:pt x="476" y="10050"/>
                    </a:cubicBezTo>
                    <a:cubicBezTo>
                      <a:pt x="375" y="9956"/>
                      <a:pt x="1427" y="9254"/>
                      <a:pt x="1327" y="9403"/>
                    </a:cubicBezTo>
                    <a:cubicBezTo>
                      <a:pt x="759" y="8948"/>
                      <a:pt x="568" y="8919"/>
                      <a:pt x="0" y="8505"/>
                    </a:cubicBezTo>
                    <a:cubicBezTo>
                      <a:pt x="65" y="8464"/>
                      <a:pt x="79" y="8302"/>
                      <a:pt x="144" y="8261"/>
                    </a:cubicBezTo>
                    <a:cubicBezTo>
                      <a:pt x="261" y="8200"/>
                      <a:pt x="428" y="8362"/>
                      <a:pt x="545" y="8301"/>
                    </a:cubicBezTo>
                    <a:cubicBezTo>
                      <a:pt x="762" y="8064"/>
                      <a:pt x="1075" y="7764"/>
                      <a:pt x="1196" y="7588"/>
                    </a:cubicBezTo>
                    <a:cubicBezTo>
                      <a:pt x="1317" y="7413"/>
                      <a:pt x="1300" y="7336"/>
                      <a:pt x="1271" y="7248"/>
                    </a:cubicBezTo>
                    <a:cubicBezTo>
                      <a:pt x="1242" y="7161"/>
                      <a:pt x="1046" y="7153"/>
                      <a:pt x="1021" y="7062"/>
                    </a:cubicBezTo>
                    <a:cubicBezTo>
                      <a:pt x="996" y="6971"/>
                      <a:pt x="1158" y="6837"/>
                      <a:pt x="1121" y="6702"/>
                    </a:cubicBezTo>
                    <a:cubicBezTo>
                      <a:pt x="1083" y="6567"/>
                      <a:pt x="753" y="6370"/>
                      <a:pt x="795" y="6252"/>
                    </a:cubicBezTo>
                    <a:cubicBezTo>
                      <a:pt x="837" y="6134"/>
                      <a:pt x="1275" y="6080"/>
                      <a:pt x="1371" y="5993"/>
                    </a:cubicBezTo>
                    <a:cubicBezTo>
                      <a:pt x="1467" y="5906"/>
                      <a:pt x="1158" y="5903"/>
                      <a:pt x="1121" y="5791"/>
                    </a:cubicBezTo>
                    <a:cubicBezTo>
                      <a:pt x="1083" y="5679"/>
                      <a:pt x="1684" y="5416"/>
                      <a:pt x="1647" y="5240"/>
                    </a:cubicBezTo>
                    <a:cubicBezTo>
                      <a:pt x="1609" y="5064"/>
                      <a:pt x="1079" y="5024"/>
                      <a:pt x="895" y="4734"/>
                    </a:cubicBezTo>
                    <a:cubicBezTo>
                      <a:pt x="712" y="4445"/>
                      <a:pt x="520" y="3715"/>
                      <a:pt x="545" y="3503"/>
                    </a:cubicBezTo>
                    <a:cubicBezTo>
                      <a:pt x="570" y="3292"/>
                      <a:pt x="637" y="3626"/>
                      <a:pt x="895" y="3665"/>
                    </a:cubicBezTo>
                    <a:cubicBezTo>
                      <a:pt x="1154" y="3705"/>
                      <a:pt x="1818" y="3762"/>
                      <a:pt x="2097" y="3742"/>
                    </a:cubicBezTo>
                    <a:cubicBezTo>
                      <a:pt x="2377" y="3722"/>
                      <a:pt x="2498" y="3547"/>
                      <a:pt x="2573" y="3544"/>
                    </a:cubicBezTo>
                    <a:cubicBezTo>
                      <a:pt x="2648" y="3541"/>
                      <a:pt x="2790" y="3557"/>
                      <a:pt x="2773" y="3645"/>
                    </a:cubicBezTo>
                    <a:cubicBezTo>
                      <a:pt x="2757" y="3733"/>
                      <a:pt x="2448" y="3999"/>
                      <a:pt x="2473" y="4070"/>
                    </a:cubicBezTo>
                    <a:cubicBezTo>
                      <a:pt x="2498" y="4141"/>
                      <a:pt x="2752" y="4266"/>
                      <a:pt x="2848" y="4252"/>
                    </a:cubicBezTo>
                    <a:cubicBezTo>
                      <a:pt x="2944" y="4239"/>
                      <a:pt x="3074" y="4098"/>
                      <a:pt x="3174" y="4009"/>
                    </a:cubicBezTo>
                    <a:cubicBezTo>
                      <a:pt x="3274" y="3921"/>
                      <a:pt x="3236" y="3726"/>
                      <a:pt x="3449" y="3722"/>
                    </a:cubicBezTo>
                    <a:cubicBezTo>
                      <a:pt x="3662" y="3718"/>
                      <a:pt x="4284" y="3984"/>
                      <a:pt x="4451" y="3985"/>
                    </a:cubicBezTo>
                    <a:cubicBezTo>
                      <a:pt x="4618" y="3986"/>
                      <a:pt x="4401" y="3675"/>
                      <a:pt x="4551" y="3584"/>
                    </a:cubicBezTo>
                    <a:cubicBezTo>
                      <a:pt x="4701" y="3494"/>
                      <a:pt x="5123" y="3341"/>
                      <a:pt x="5377" y="3301"/>
                    </a:cubicBezTo>
                    <a:cubicBezTo>
                      <a:pt x="5632" y="3260"/>
                      <a:pt x="5911" y="3311"/>
                      <a:pt x="6078" y="3341"/>
                    </a:cubicBezTo>
                    <a:cubicBezTo>
                      <a:pt x="6245" y="3372"/>
                      <a:pt x="6153" y="3507"/>
                      <a:pt x="6354" y="3625"/>
                    </a:cubicBezTo>
                    <a:cubicBezTo>
                      <a:pt x="6554" y="3742"/>
                      <a:pt x="6479" y="3516"/>
                      <a:pt x="6579" y="3418"/>
                    </a:cubicBezTo>
                    <a:cubicBezTo>
                      <a:pt x="6679" y="3320"/>
                      <a:pt x="6867" y="3132"/>
                      <a:pt x="6955" y="3038"/>
                    </a:cubicBezTo>
                    <a:cubicBezTo>
                      <a:pt x="7042" y="2944"/>
                      <a:pt x="6905" y="2818"/>
                      <a:pt x="7005" y="2714"/>
                    </a:cubicBezTo>
                    <a:cubicBezTo>
                      <a:pt x="7105" y="2609"/>
                      <a:pt x="7443" y="2495"/>
                      <a:pt x="7556" y="2410"/>
                    </a:cubicBezTo>
                    <a:cubicBezTo>
                      <a:pt x="7668" y="2326"/>
                      <a:pt x="7329" y="2125"/>
                      <a:pt x="7380" y="2026"/>
                    </a:cubicBezTo>
                    <a:cubicBezTo>
                      <a:pt x="7431" y="1926"/>
                      <a:pt x="7858" y="1879"/>
                      <a:pt x="7862" y="1811"/>
                    </a:cubicBezTo>
                    <a:cubicBezTo>
                      <a:pt x="7866" y="1743"/>
                      <a:pt x="7519" y="1722"/>
                      <a:pt x="7405" y="1617"/>
                    </a:cubicBezTo>
                    <a:cubicBezTo>
                      <a:pt x="7292" y="1511"/>
                      <a:pt x="7147" y="1262"/>
                      <a:pt x="7180" y="1175"/>
                    </a:cubicBezTo>
                    <a:cubicBezTo>
                      <a:pt x="7213" y="1088"/>
                      <a:pt x="7451" y="949"/>
                      <a:pt x="7556" y="892"/>
                    </a:cubicBezTo>
                    <a:cubicBezTo>
                      <a:pt x="7660" y="835"/>
                      <a:pt x="7869" y="912"/>
                      <a:pt x="8006" y="892"/>
                    </a:cubicBezTo>
                    <a:cubicBezTo>
                      <a:pt x="8144" y="872"/>
                      <a:pt x="8186" y="706"/>
                      <a:pt x="8307" y="649"/>
                    </a:cubicBezTo>
                    <a:cubicBezTo>
                      <a:pt x="8428" y="592"/>
                      <a:pt x="8661" y="661"/>
                      <a:pt x="8783" y="629"/>
                    </a:cubicBezTo>
                    <a:cubicBezTo>
                      <a:pt x="8905" y="596"/>
                      <a:pt x="8914" y="371"/>
                      <a:pt x="9039" y="333"/>
                    </a:cubicBezTo>
                    <a:cubicBezTo>
                      <a:pt x="9164" y="296"/>
                      <a:pt x="9401" y="391"/>
                      <a:pt x="9534" y="406"/>
                    </a:cubicBezTo>
                    <a:cubicBezTo>
                      <a:pt x="9666" y="422"/>
                      <a:pt x="9772" y="21"/>
                      <a:pt x="9934" y="1"/>
                    </a:cubicBezTo>
                    <a:cubicBezTo>
                      <a:pt x="10097" y="-19"/>
                      <a:pt x="10489" y="160"/>
                      <a:pt x="10660" y="244"/>
                    </a:cubicBezTo>
                    <a:cubicBezTo>
                      <a:pt x="10832" y="329"/>
                      <a:pt x="10505" y="573"/>
                      <a:pt x="10660" y="690"/>
                    </a:cubicBezTo>
                    <a:cubicBezTo>
                      <a:pt x="10816" y="806"/>
                      <a:pt x="11142" y="647"/>
                      <a:pt x="11292" y="698"/>
                    </a:cubicBezTo>
                    <a:cubicBezTo>
                      <a:pt x="11443" y="748"/>
                      <a:pt x="11396" y="900"/>
                      <a:pt x="11562" y="993"/>
                    </a:cubicBezTo>
                    <a:cubicBezTo>
                      <a:pt x="11728" y="1086"/>
                      <a:pt x="12250" y="1040"/>
                      <a:pt x="12488" y="1094"/>
                    </a:cubicBezTo>
                    <a:cubicBezTo>
                      <a:pt x="12726" y="1148"/>
                      <a:pt x="12572" y="1439"/>
                      <a:pt x="12714" y="1540"/>
                    </a:cubicBezTo>
                    <a:cubicBezTo>
                      <a:pt x="12856" y="1641"/>
                      <a:pt x="13239" y="1395"/>
                      <a:pt x="13415" y="1398"/>
                    </a:cubicBezTo>
                    <a:cubicBezTo>
                      <a:pt x="13590" y="1401"/>
                      <a:pt x="13736" y="1452"/>
                      <a:pt x="13815" y="1499"/>
                    </a:cubicBezTo>
                    <a:cubicBezTo>
                      <a:pt x="13895" y="1547"/>
                      <a:pt x="13811" y="1621"/>
                      <a:pt x="13890" y="1681"/>
                    </a:cubicBezTo>
                    <a:cubicBezTo>
                      <a:pt x="13970" y="1742"/>
                      <a:pt x="14178" y="1796"/>
                      <a:pt x="14241" y="1924"/>
                    </a:cubicBezTo>
                    <a:cubicBezTo>
                      <a:pt x="14304" y="2053"/>
                      <a:pt x="14140" y="2399"/>
                      <a:pt x="14141" y="2572"/>
                    </a:cubicBezTo>
                    <a:cubicBezTo>
                      <a:pt x="14142" y="2746"/>
                      <a:pt x="14346" y="2677"/>
                      <a:pt x="14422" y="2864"/>
                    </a:cubicBezTo>
                    <a:cubicBezTo>
                      <a:pt x="14498" y="3051"/>
                      <a:pt x="14465" y="3527"/>
                      <a:pt x="14597" y="3694"/>
                    </a:cubicBezTo>
                    <a:cubicBezTo>
                      <a:pt x="14730" y="3861"/>
                      <a:pt x="15077" y="3805"/>
                      <a:pt x="15218" y="3868"/>
                    </a:cubicBezTo>
                    <a:cubicBezTo>
                      <a:pt x="15358" y="3931"/>
                      <a:pt x="15329" y="4173"/>
                      <a:pt x="15418" y="4212"/>
                    </a:cubicBezTo>
                    <a:cubicBezTo>
                      <a:pt x="15506" y="4250"/>
                      <a:pt x="15424" y="4058"/>
                      <a:pt x="15574" y="3977"/>
                    </a:cubicBezTo>
                    <a:cubicBezTo>
                      <a:pt x="15724" y="3896"/>
                      <a:pt x="16045" y="4021"/>
                      <a:pt x="16269" y="4009"/>
                    </a:cubicBezTo>
                    <a:cubicBezTo>
                      <a:pt x="16493" y="3998"/>
                      <a:pt x="16682" y="3780"/>
                      <a:pt x="16895" y="3726"/>
                    </a:cubicBezTo>
                    <a:cubicBezTo>
                      <a:pt x="17108" y="3672"/>
                      <a:pt x="17261" y="3860"/>
                      <a:pt x="17471" y="3868"/>
                    </a:cubicBezTo>
                    <a:cubicBezTo>
                      <a:pt x="17681" y="3876"/>
                      <a:pt x="17798" y="3738"/>
                      <a:pt x="17928" y="3755"/>
                    </a:cubicBezTo>
                    <a:cubicBezTo>
                      <a:pt x="18057" y="3771"/>
                      <a:pt x="18068" y="3891"/>
                      <a:pt x="18247" y="3969"/>
                    </a:cubicBezTo>
                    <a:cubicBezTo>
                      <a:pt x="18427" y="4047"/>
                      <a:pt x="18291" y="3502"/>
                      <a:pt x="18378" y="3410"/>
                    </a:cubicBezTo>
                    <a:cubicBezTo>
                      <a:pt x="18466" y="3319"/>
                      <a:pt x="18707" y="3559"/>
                      <a:pt x="18823" y="3645"/>
                    </a:cubicBezTo>
                    <a:cubicBezTo>
                      <a:pt x="18939" y="3731"/>
                      <a:pt x="19144" y="3787"/>
                      <a:pt x="19249" y="3868"/>
                    </a:cubicBezTo>
                    <a:cubicBezTo>
                      <a:pt x="19353" y="3949"/>
                      <a:pt x="19374" y="4155"/>
                      <a:pt x="19399" y="4192"/>
                    </a:cubicBezTo>
                    <a:cubicBezTo>
                      <a:pt x="19424" y="4229"/>
                      <a:pt x="19270" y="4060"/>
                      <a:pt x="19224" y="4151"/>
                    </a:cubicBezTo>
                    <a:cubicBezTo>
                      <a:pt x="19178" y="4242"/>
                      <a:pt x="19462" y="4725"/>
                      <a:pt x="19474" y="4920"/>
                    </a:cubicBezTo>
                    <a:cubicBezTo>
                      <a:pt x="19487" y="5116"/>
                      <a:pt x="19181" y="5081"/>
                      <a:pt x="19174" y="5265"/>
                    </a:cubicBezTo>
                    <a:cubicBezTo>
                      <a:pt x="19166" y="5448"/>
                      <a:pt x="19313" y="5816"/>
                      <a:pt x="19430" y="6022"/>
                    </a:cubicBezTo>
                    <a:cubicBezTo>
                      <a:pt x="19547" y="6228"/>
                      <a:pt x="19767" y="6346"/>
                      <a:pt x="19875" y="6499"/>
                    </a:cubicBezTo>
                    <a:cubicBezTo>
                      <a:pt x="19982" y="6653"/>
                      <a:pt x="19816" y="6837"/>
                      <a:pt x="19750" y="6985"/>
                    </a:cubicBezTo>
                    <a:cubicBezTo>
                      <a:pt x="19683" y="7134"/>
                      <a:pt x="20366" y="7311"/>
                      <a:pt x="20225" y="7593"/>
                    </a:cubicBezTo>
                    <a:cubicBezTo>
                      <a:pt x="20084" y="7874"/>
                      <a:pt x="19084" y="8279"/>
                      <a:pt x="18904" y="8471"/>
                    </a:cubicBezTo>
                    <a:cubicBezTo>
                      <a:pt x="18725" y="8664"/>
                      <a:pt x="18962" y="8842"/>
                      <a:pt x="19149" y="8888"/>
                    </a:cubicBezTo>
                    <a:cubicBezTo>
                      <a:pt x="19335" y="8934"/>
                      <a:pt x="19745" y="8817"/>
                      <a:pt x="19900" y="8888"/>
                    </a:cubicBezTo>
                    <a:cubicBezTo>
                      <a:pt x="20054" y="8959"/>
                      <a:pt x="19169" y="9101"/>
                      <a:pt x="19149" y="9212"/>
                    </a:cubicBezTo>
                    <a:cubicBezTo>
                      <a:pt x="19128" y="9323"/>
                      <a:pt x="19673" y="9363"/>
                      <a:pt x="19875" y="9475"/>
                    </a:cubicBezTo>
                    <a:cubicBezTo>
                      <a:pt x="20076" y="9588"/>
                      <a:pt x="20194" y="9824"/>
                      <a:pt x="20356" y="9888"/>
                    </a:cubicBezTo>
                    <a:cubicBezTo>
                      <a:pt x="20519" y="9953"/>
                      <a:pt x="20652" y="9888"/>
                      <a:pt x="20751" y="9941"/>
                    </a:cubicBezTo>
                    <a:cubicBezTo>
                      <a:pt x="20850" y="9993"/>
                      <a:pt x="20688" y="10131"/>
                      <a:pt x="20726" y="10204"/>
                    </a:cubicBezTo>
                    <a:cubicBezTo>
                      <a:pt x="20764" y="10278"/>
                      <a:pt x="20989" y="10331"/>
                      <a:pt x="20976" y="10382"/>
                    </a:cubicBezTo>
                    <a:cubicBezTo>
                      <a:pt x="20964" y="10433"/>
                      <a:pt x="20718" y="10399"/>
                      <a:pt x="20651" y="10508"/>
                    </a:cubicBezTo>
                    <a:cubicBezTo>
                      <a:pt x="20584" y="10616"/>
                      <a:pt x="20417" y="10923"/>
                      <a:pt x="20476" y="10994"/>
                    </a:cubicBezTo>
                    <a:cubicBezTo>
                      <a:pt x="20534" y="11064"/>
                      <a:pt x="20796" y="11043"/>
                      <a:pt x="20976" y="11095"/>
                    </a:cubicBezTo>
                    <a:cubicBezTo>
                      <a:pt x="21157" y="11147"/>
                      <a:pt x="21466" y="11265"/>
                      <a:pt x="21533" y="11346"/>
                    </a:cubicBezTo>
                    <a:cubicBezTo>
                      <a:pt x="21600" y="11427"/>
                      <a:pt x="21466" y="11508"/>
                      <a:pt x="21377" y="11581"/>
                    </a:cubicBezTo>
                    <a:cubicBezTo>
                      <a:pt x="21288" y="11653"/>
                      <a:pt x="21063" y="11620"/>
                      <a:pt x="21001" y="11783"/>
                    </a:cubicBezTo>
                    <a:cubicBezTo>
                      <a:pt x="20940" y="11946"/>
                      <a:pt x="21475" y="11751"/>
                      <a:pt x="21007" y="12297"/>
                    </a:cubicBezTo>
                    <a:cubicBezTo>
                      <a:pt x="20540" y="12844"/>
                      <a:pt x="18674" y="14366"/>
                      <a:pt x="18197" y="15063"/>
                    </a:cubicBezTo>
                    <a:cubicBezTo>
                      <a:pt x="17720" y="15760"/>
                      <a:pt x="17817" y="16247"/>
                      <a:pt x="17746" y="16621"/>
                    </a:cubicBezTo>
                    <a:cubicBezTo>
                      <a:pt x="17675" y="16996"/>
                      <a:pt x="17897" y="17323"/>
                      <a:pt x="17696" y="17553"/>
                    </a:cubicBezTo>
                    <a:cubicBezTo>
                      <a:pt x="17496" y="17782"/>
                      <a:pt x="16937" y="17492"/>
                      <a:pt x="16570" y="17553"/>
                    </a:cubicBezTo>
                    <a:cubicBezTo>
                      <a:pt x="16202" y="17613"/>
                      <a:pt x="16165" y="17870"/>
                      <a:pt x="15919" y="17978"/>
                    </a:cubicBezTo>
                    <a:cubicBezTo>
                      <a:pt x="15672" y="18086"/>
                      <a:pt x="15308" y="18013"/>
                      <a:pt x="15092" y="18200"/>
                    </a:cubicBezTo>
                    <a:cubicBezTo>
                      <a:pt x="14876" y="18387"/>
                      <a:pt x="14431" y="18813"/>
                      <a:pt x="14197" y="19039"/>
                    </a:cubicBezTo>
                    <a:cubicBezTo>
                      <a:pt x="13963" y="19265"/>
                      <a:pt x="13950" y="19403"/>
                      <a:pt x="13840" y="19597"/>
                    </a:cubicBezTo>
                    <a:cubicBezTo>
                      <a:pt x="13731" y="19791"/>
                      <a:pt x="13423" y="20255"/>
                      <a:pt x="13189" y="20508"/>
                    </a:cubicBezTo>
                    <a:cubicBezTo>
                      <a:pt x="12842" y="20817"/>
                      <a:pt x="12683" y="20858"/>
                      <a:pt x="12288" y="21075"/>
                    </a:cubicBezTo>
                    <a:cubicBezTo>
                      <a:pt x="11893" y="21292"/>
                      <a:pt x="11358" y="21345"/>
                      <a:pt x="11167" y="21448"/>
                    </a:cubicBezTo>
                  </a:path>
                </a:pathLst>
              </a:custGeom>
              <a:solidFill>
                <a:srgbClr val="6A8E1A">
                  <a:alpha val="4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13" name="Shape 95">
                <a:extLst>
                  <a:ext uri="{FF2B5EF4-FFF2-40B4-BE49-F238E27FC236}">
                    <a16:creationId xmlns:a16="http://schemas.microsoft.com/office/drawing/2014/main" xmlns="" id="{A57B0097-09D5-064B-BA98-8A3A0C1AFC0C}"/>
                  </a:ext>
                </a:extLst>
              </p:cNvPr>
              <p:cNvSpPr/>
              <p:nvPr/>
            </p:nvSpPr>
            <p:spPr>
              <a:xfrm>
                <a:off x="2019789" y="2152701"/>
                <a:ext cx="719049" cy="10572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275" h="21219" extrusionOk="0">
                    <a:moveTo>
                      <a:pt x="11814" y="182"/>
                    </a:moveTo>
                    <a:cubicBezTo>
                      <a:pt x="12176" y="-9"/>
                      <a:pt x="12952" y="227"/>
                      <a:pt x="13206" y="241"/>
                    </a:cubicBezTo>
                    <a:cubicBezTo>
                      <a:pt x="13459" y="256"/>
                      <a:pt x="12518" y="-328"/>
                      <a:pt x="13336" y="271"/>
                    </a:cubicBezTo>
                    <a:cubicBezTo>
                      <a:pt x="14154" y="870"/>
                      <a:pt x="17307" y="3161"/>
                      <a:pt x="18112" y="3835"/>
                    </a:cubicBezTo>
                    <a:cubicBezTo>
                      <a:pt x="18130" y="3995"/>
                      <a:pt x="18583" y="4184"/>
                      <a:pt x="18600" y="4344"/>
                    </a:cubicBezTo>
                    <a:cubicBezTo>
                      <a:pt x="18513" y="4580"/>
                      <a:pt x="17861" y="4816"/>
                      <a:pt x="17774" y="5052"/>
                    </a:cubicBezTo>
                    <a:cubicBezTo>
                      <a:pt x="17854" y="5237"/>
                      <a:pt x="17747" y="5645"/>
                      <a:pt x="17842" y="5990"/>
                    </a:cubicBezTo>
                    <a:cubicBezTo>
                      <a:pt x="17936" y="6334"/>
                      <a:pt x="18185" y="6626"/>
                      <a:pt x="18339" y="7118"/>
                    </a:cubicBezTo>
                    <a:cubicBezTo>
                      <a:pt x="18494" y="7610"/>
                      <a:pt x="18542" y="8345"/>
                      <a:pt x="18770" y="8941"/>
                    </a:cubicBezTo>
                    <a:lnTo>
                      <a:pt x="19445" y="10691"/>
                    </a:lnTo>
                    <a:cubicBezTo>
                      <a:pt x="19074" y="11150"/>
                      <a:pt x="19873" y="11402"/>
                      <a:pt x="20553" y="11768"/>
                    </a:cubicBezTo>
                    <a:cubicBezTo>
                      <a:pt x="21234" y="12133"/>
                      <a:pt x="20379" y="13300"/>
                      <a:pt x="20336" y="13804"/>
                    </a:cubicBezTo>
                    <a:cubicBezTo>
                      <a:pt x="20293" y="14308"/>
                      <a:pt x="20155" y="14161"/>
                      <a:pt x="20297" y="14791"/>
                    </a:cubicBezTo>
                    <a:cubicBezTo>
                      <a:pt x="20439" y="15421"/>
                      <a:pt x="21600" y="17058"/>
                      <a:pt x="21187" y="17585"/>
                    </a:cubicBezTo>
                    <a:cubicBezTo>
                      <a:pt x="20773" y="18111"/>
                      <a:pt x="18524" y="17927"/>
                      <a:pt x="17817" y="17949"/>
                    </a:cubicBezTo>
                    <a:cubicBezTo>
                      <a:pt x="17111" y="17970"/>
                      <a:pt x="17052" y="17787"/>
                      <a:pt x="16773" y="17801"/>
                    </a:cubicBezTo>
                    <a:cubicBezTo>
                      <a:pt x="16494" y="17815"/>
                      <a:pt x="15954" y="17876"/>
                      <a:pt x="16145" y="17975"/>
                    </a:cubicBezTo>
                    <a:cubicBezTo>
                      <a:pt x="16336" y="18074"/>
                      <a:pt x="17749" y="18232"/>
                      <a:pt x="17919" y="18395"/>
                    </a:cubicBezTo>
                    <a:cubicBezTo>
                      <a:pt x="18089" y="18557"/>
                      <a:pt x="17229" y="18744"/>
                      <a:pt x="17165" y="18952"/>
                    </a:cubicBezTo>
                    <a:cubicBezTo>
                      <a:pt x="17100" y="19160"/>
                      <a:pt x="17866" y="19036"/>
                      <a:pt x="17750" y="19346"/>
                    </a:cubicBezTo>
                    <a:cubicBezTo>
                      <a:pt x="17634" y="19655"/>
                      <a:pt x="16855" y="20560"/>
                      <a:pt x="16469" y="20811"/>
                    </a:cubicBezTo>
                    <a:cubicBezTo>
                      <a:pt x="16082" y="21063"/>
                      <a:pt x="15516" y="21272"/>
                      <a:pt x="14907" y="21208"/>
                    </a:cubicBezTo>
                    <a:cubicBezTo>
                      <a:pt x="14298" y="21144"/>
                      <a:pt x="13410" y="20489"/>
                      <a:pt x="12814" y="20428"/>
                    </a:cubicBezTo>
                    <a:cubicBezTo>
                      <a:pt x="12219" y="20366"/>
                      <a:pt x="11864" y="20969"/>
                      <a:pt x="11639" y="20782"/>
                    </a:cubicBezTo>
                    <a:cubicBezTo>
                      <a:pt x="11415" y="20595"/>
                      <a:pt x="11683" y="20152"/>
                      <a:pt x="11639" y="19926"/>
                    </a:cubicBezTo>
                    <a:cubicBezTo>
                      <a:pt x="11596" y="19700"/>
                      <a:pt x="11598" y="19579"/>
                      <a:pt x="11378" y="19424"/>
                    </a:cubicBezTo>
                    <a:cubicBezTo>
                      <a:pt x="11158" y="19270"/>
                      <a:pt x="10334" y="19205"/>
                      <a:pt x="10102" y="19057"/>
                    </a:cubicBezTo>
                    <a:cubicBezTo>
                      <a:pt x="9870" y="18909"/>
                      <a:pt x="10269" y="18846"/>
                      <a:pt x="9986" y="18539"/>
                    </a:cubicBezTo>
                    <a:cubicBezTo>
                      <a:pt x="9703" y="18232"/>
                      <a:pt x="9196" y="18001"/>
                      <a:pt x="8884" y="17893"/>
                    </a:cubicBezTo>
                    <a:cubicBezTo>
                      <a:pt x="8572" y="17785"/>
                      <a:pt x="8403" y="17905"/>
                      <a:pt x="8115" y="17890"/>
                    </a:cubicBezTo>
                    <a:cubicBezTo>
                      <a:pt x="7828" y="17874"/>
                      <a:pt x="7528" y="17796"/>
                      <a:pt x="7245" y="17772"/>
                    </a:cubicBezTo>
                    <a:cubicBezTo>
                      <a:pt x="6963" y="17747"/>
                      <a:pt x="6564" y="17507"/>
                      <a:pt x="6375" y="17535"/>
                    </a:cubicBezTo>
                    <a:cubicBezTo>
                      <a:pt x="6187" y="17564"/>
                      <a:pt x="6303" y="17916"/>
                      <a:pt x="6114" y="17945"/>
                    </a:cubicBezTo>
                    <a:cubicBezTo>
                      <a:pt x="5926" y="17975"/>
                      <a:pt x="5486" y="17647"/>
                      <a:pt x="5244" y="17713"/>
                    </a:cubicBezTo>
                    <a:cubicBezTo>
                      <a:pt x="5002" y="17778"/>
                      <a:pt x="4802" y="18103"/>
                      <a:pt x="4577" y="18132"/>
                    </a:cubicBezTo>
                    <a:cubicBezTo>
                      <a:pt x="4352" y="18162"/>
                      <a:pt x="4024" y="17979"/>
                      <a:pt x="3895" y="17890"/>
                    </a:cubicBezTo>
                    <a:cubicBezTo>
                      <a:pt x="3767" y="17800"/>
                      <a:pt x="3990" y="17630"/>
                      <a:pt x="3808" y="17594"/>
                    </a:cubicBezTo>
                    <a:cubicBezTo>
                      <a:pt x="3626" y="17559"/>
                      <a:pt x="3231" y="17676"/>
                      <a:pt x="2977" y="17676"/>
                    </a:cubicBezTo>
                    <a:cubicBezTo>
                      <a:pt x="2723" y="17676"/>
                      <a:pt x="2575" y="17638"/>
                      <a:pt x="2286" y="17594"/>
                    </a:cubicBezTo>
                    <a:cubicBezTo>
                      <a:pt x="1996" y="17551"/>
                      <a:pt x="1350" y="17319"/>
                      <a:pt x="1198" y="17152"/>
                    </a:cubicBezTo>
                    <a:cubicBezTo>
                      <a:pt x="1046" y="16985"/>
                      <a:pt x="1097" y="16571"/>
                      <a:pt x="1198" y="16296"/>
                    </a:cubicBezTo>
                    <a:cubicBezTo>
                      <a:pt x="1300" y="16021"/>
                      <a:pt x="1817" y="15739"/>
                      <a:pt x="1807" y="15499"/>
                    </a:cubicBezTo>
                    <a:cubicBezTo>
                      <a:pt x="1797" y="15259"/>
                      <a:pt x="1601" y="15463"/>
                      <a:pt x="1358" y="15004"/>
                    </a:cubicBezTo>
                    <a:cubicBezTo>
                      <a:pt x="1114" y="14545"/>
                      <a:pt x="1157" y="14284"/>
                      <a:pt x="0" y="12921"/>
                    </a:cubicBezTo>
                    <a:cubicBezTo>
                      <a:pt x="757" y="11883"/>
                      <a:pt x="4910" y="12159"/>
                      <a:pt x="5641" y="10722"/>
                    </a:cubicBezTo>
                    <a:cubicBezTo>
                      <a:pt x="6371" y="9284"/>
                      <a:pt x="8557" y="4284"/>
                      <a:pt x="9701" y="2983"/>
                    </a:cubicBezTo>
                    <a:cubicBezTo>
                      <a:pt x="10845" y="1682"/>
                      <a:pt x="10139" y="2461"/>
                      <a:pt x="10615" y="2176"/>
                    </a:cubicBezTo>
                    <a:cubicBezTo>
                      <a:pt x="11090" y="1891"/>
                      <a:pt x="10954" y="1636"/>
                      <a:pt x="11030" y="1392"/>
                    </a:cubicBezTo>
                    <a:cubicBezTo>
                      <a:pt x="11107" y="1149"/>
                      <a:pt x="11451" y="374"/>
                      <a:pt x="11814" y="182"/>
                    </a:cubicBezTo>
                    <a:close/>
                  </a:path>
                </a:pathLst>
              </a:custGeom>
              <a:solidFill>
                <a:srgbClr val="FFB15C">
                  <a:alpha val="69804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14" name="Shape 96">
                <a:extLst>
                  <a:ext uri="{FF2B5EF4-FFF2-40B4-BE49-F238E27FC236}">
                    <a16:creationId xmlns:a16="http://schemas.microsoft.com/office/drawing/2014/main" xmlns="" id="{1A20711E-0A5A-DB42-BCDD-6BB870C532B1}"/>
                  </a:ext>
                </a:extLst>
              </p:cNvPr>
              <p:cNvSpPr/>
              <p:nvPr/>
            </p:nvSpPr>
            <p:spPr>
              <a:xfrm>
                <a:off x="2403748" y="1996361"/>
                <a:ext cx="1893629" cy="18365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48" h="21529" extrusionOk="0">
                    <a:moveTo>
                      <a:pt x="17096" y="15367"/>
                    </a:moveTo>
                    <a:cubicBezTo>
                      <a:pt x="17084" y="15332"/>
                      <a:pt x="16941" y="15363"/>
                      <a:pt x="16889" y="15314"/>
                    </a:cubicBezTo>
                    <a:cubicBezTo>
                      <a:pt x="16858" y="15274"/>
                      <a:pt x="16839" y="15234"/>
                      <a:pt x="16822" y="15194"/>
                    </a:cubicBezTo>
                    <a:cubicBezTo>
                      <a:pt x="16806" y="15154"/>
                      <a:pt x="16859" y="15079"/>
                      <a:pt x="16789" y="15073"/>
                    </a:cubicBezTo>
                    <a:cubicBezTo>
                      <a:pt x="16719" y="15067"/>
                      <a:pt x="16560" y="15349"/>
                      <a:pt x="16438" y="15401"/>
                    </a:cubicBezTo>
                    <a:cubicBezTo>
                      <a:pt x="16315" y="15452"/>
                      <a:pt x="16173" y="15300"/>
                      <a:pt x="16053" y="15280"/>
                    </a:cubicBezTo>
                    <a:cubicBezTo>
                      <a:pt x="15933" y="15260"/>
                      <a:pt x="16032" y="15411"/>
                      <a:pt x="15885" y="15435"/>
                    </a:cubicBezTo>
                    <a:cubicBezTo>
                      <a:pt x="15739" y="15459"/>
                      <a:pt x="15521" y="15312"/>
                      <a:pt x="15376" y="15320"/>
                    </a:cubicBezTo>
                    <a:cubicBezTo>
                      <a:pt x="15231" y="15329"/>
                      <a:pt x="15108" y="15403"/>
                      <a:pt x="15015" y="15487"/>
                    </a:cubicBezTo>
                    <a:cubicBezTo>
                      <a:pt x="14923" y="15571"/>
                      <a:pt x="15039" y="15914"/>
                      <a:pt x="14907" y="15909"/>
                    </a:cubicBezTo>
                    <a:cubicBezTo>
                      <a:pt x="14775" y="15904"/>
                      <a:pt x="14479" y="15449"/>
                      <a:pt x="14223" y="15458"/>
                    </a:cubicBezTo>
                    <a:cubicBezTo>
                      <a:pt x="13968" y="15467"/>
                      <a:pt x="13515" y="15799"/>
                      <a:pt x="13374" y="15963"/>
                    </a:cubicBezTo>
                    <a:cubicBezTo>
                      <a:pt x="13234" y="16126"/>
                      <a:pt x="13443" y="16289"/>
                      <a:pt x="13379" y="16440"/>
                    </a:cubicBezTo>
                    <a:cubicBezTo>
                      <a:pt x="13315" y="16590"/>
                      <a:pt x="13069" y="16714"/>
                      <a:pt x="12991" y="16866"/>
                    </a:cubicBezTo>
                    <a:cubicBezTo>
                      <a:pt x="12912" y="17017"/>
                      <a:pt x="13180" y="17162"/>
                      <a:pt x="13208" y="17279"/>
                    </a:cubicBezTo>
                    <a:cubicBezTo>
                      <a:pt x="13236" y="17397"/>
                      <a:pt x="13105" y="17377"/>
                      <a:pt x="13058" y="17452"/>
                    </a:cubicBezTo>
                    <a:cubicBezTo>
                      <a:pt x="13010" y="17526"/>
                      <a:pt x="13080" y="17668"/>
                      <a:pt x="13041" y="17762"/>
                    </a:cubicBezTo>
                    <a:cubicBezTo>
                      <a:pt x="13001" y="17856"/>
                      <a:pt x="12823" y="17949"/>
                      <a:pt x="12820" y="18015"/>
                    </a:cubicBezTo>
                    <a:cubicBezTo>
                      <a:pt x="12818" y="18081"/>
                      <a:pt x="12984" y="18100"/>
                      <a:pt x="13024" y="18158"/>
                    </a:cubicBezTo>
                    <a:cubicBezTo>
                      <a:pt x="13064" y="18217"/>
                      <a:pt x="13017" y="18340"/>
                      <a:pt x="13062" y="18363"/>
                    </a:cubicBezTo>
                    <a:cubicBezTo>
                      <a:pt x="13106" y="18386"/>
                      <a:pt x="13209" y="18287"/>
                      <a:pt x="13292" y="18296"/>
                    </a:cubicBezTo>
                    <a:cubicBezTo>
                      <a:pt x="13375" y="18305"/>
                      <a:pt x="13544" y="18265"/>
                      <a:pt x="13643" y="18314"/>
                    </a:cubicBezTo>
                    <a:cubicBezTo>
                      <a:pt x="13742" y="18363"/>
                      <a:pt x="13778" y="18540"/>
                      <a:pt x="13885" y="18591"/>
                    </a:cubicBezTo>
                    <a:cubicBezTo>
                      <a:pt x="13993" y="18642"/>
                      <a:pt x="14220" y="18547"/>
                      <a:pt x="14289" y="18618"/>
                    </a:cubicBezTo>
                    <a:cubicBezTo>
                      <a:pt x="14357" y="18690"/>
                      <a:pt x="14345" y="18870"/>
                      <a:pt x="14296" y="19020"/>
                    </a:cubicBezTo>
                    <a:cubicBezTo>
                      <a:pt x="14247" y="19171"/>
                      <a:pt x="13887" y="19165"/>
                      <a:pt x="13811" y="19279"/>
                    </a:cubicBezTo>
                    <a:cubicBezTo>
                      <a:pt x="13734" y="19393"/>
                      <a:pt x="13773" y="19720"/>
                      <a:pt x="13703" y="19723"/>
                    </a:cubicBezTo>
                    <a:cubicBezTo>
                      <a:pt x="13633" y="19726"/>
                      <a:pt x="13486" y="19336"/>
                      <a:pt x="13392" y="19296"/>
                    </a:cubicBezTo>
                    <a:cubicBezTo>
                      <a:pt x="13299" y="19257"/>
                      <a:pt x="13324" y="19527"/>
                      <a:pt x="13225" y="19589"/>
                    </a:cubicBezTo>
                    <a:cubicBezTo>
                      <a:pt x="13126" y="19651"/>
                      <a:pt x="12907" y="19615"/>
                      <a:pt x="12799" y="19670"/>
                    </a:cubicBezTo>
                    <a:cubicBezTo>
                      <a:pt x="12030" y="20419"/>
                      <a:pt x="12865" y="19753"/>
                      <a:pt x="12749" y="19832"/>
                    </a:cubicBezTo>
                    <a:cubicBezTo>
                      <a:pt x="12633" y="19910"/>
                      <a:pt x="12204" y="19944"/>
                      <a:pt x="12104" y="20141"/>
                    </a:cubicBezTo>
                    <a:cubicBezTo>
                      <a:pt x="12003" y="20337"/>
                      <a:pt x="12098" y="20886"/>
                      <a:pt x="12146" y="21012"/>
                    </a:cubicBezTo>
                    <a:cubicBezTo>
                      <a:pt x="12159" y="21254"/>
                      <a:pt x="12025" y="21301"/>
                      <a:pt x="11913" y="21386"/>
                    </a:cubicBezTo>
                    <a:cubicBezTo>
                      <a:pt x="11802" y="21471"/>
                      <a:pt x="11646" y="21556"/>
                      <a:pt x="11477" y="21520"/>
                    </a:cubicBezTo>
                    <a:cubicBezTo>
                      <a:pt x="11307" y="21484"/>
                      <a:pt x="11139" y="21282"/>
                      <a:pt x="10896" y="21171"/>
                    </a:cubicBezTo>
                    <a:cubicBezTo>
                      <a:pt x="10654" y="21060"/>
                      <a:pt x="10157" y="20959"/>
                      <a:pt x="10021" y="20853"/>
                    </a:cubicBezTo>
                    <a:cubicBezTo>
                      <a:pt x="9885" y="20748"/>
                      <a:pt x="10045" y="20659"/>
                      <a:pt x="10079" y="20537"/>
                    </a:cubicBezTo>
                    <a:cubicBezTo>
                      <a:pt x="10114" y="20415"/>
                      <a:pt x="10003" y="20110"/>
                      <a:pt x="10012" y="19899"/>
                    </a:cubicBezTo>
                    <a:cubicBezTo>
                      <a:pt x="10022" y="19688"/>
                      <a:pt x="10183" y="19440"/>
                      <a:pt x="10138" y="19270"/>
                    </a:cubicBezTo>
                    <a:cubicBezTo>
                      <a:pt x="10093" y="19101"/>
                      <a:pt x="9778" y="19267"/>
                      <a:pt x="9661" y="19158"/>
                    </a:cubicBezTo>
                    <a:cubicBezTo>
                      <a:pt x="9544" y="19049"/>
                      <a:pt x="9497" y="18779"/>
                      <a:pt x="9350" y="18617"/>
                    </a:cubicBezTo>
                    <a:cubicBezTo>
                      <a:pt x="9203" y="18456"/>
                      <a:pt x="8899" y="18414"/>
                      <a:pt x="8781" y="18188"/>
                    </a:cubicBezTo>
                    <a:cubicBezTo>
                      <a:pt x="8663" y="17962"/>
                      <a:pt x="8626" y="17445"/>
                      <a:pt x="8640" y="17262"/>
                    </a:cubicBezTo>
                    <a:cubicBezTo>
                      <a:pt x="8655" y="17080"/>
                      <a:pt x="8811" y="17130"/>
                      <a:pt x="8870" y="17093"/>
                    </a:cubicBezTo>
                    <a:cubicBezTo>
                      <a:pt x="8928" y="17056"/>
                      <a:pt x="8921" y="17044"/>
                      <a:pt x="8992" y="17038"/>
                    </a:cubicBezTo>
                    <a:cubicBezTo>
                      <a:pt x="9062" y="17032"/>
                      <a:pt x="9209" y="17087"/>
                      <a:pt x="9293" y="17055"/>
                    </a:cubicBezTo>
                    <a:cubicBezTo>
                      <a:pt x="9377" y="17024"/>
                      <a:pt x="9198" y="16800"/>
                      <a:pt x="9226" y="16728"/>
                    </a:cubicBezTo>
                    <a:cubicBezTo>
                      <a:pt x="9254" y="16656"/>
                      <a:pt x="9396" y="16757"/>
                      <a:pt x="9477" y="16728"/>
                    </a:cubicBezTo>
                    <a:cubicBezTo>
                      <a:pt x="9558" y="16699"/>
                      <a:pt x="9559" y="16607"/>
                      <a:pt x="9644" y="16504"/>
                    </a:cubicBezTo>
                    <a:cubicBezTo>
                      <a:pt x="9729" y="16401"/>
                      <a:pt x="9984" y="16247"/>
                      <a:pt x="9987" y="16109"/>
                    </a:cubicBezTo>
                    <a:cubicBezTo>
                      <a:pt x="9989" y="15971"/>
                      <a:pt x="9744" y="15811"/>
                      <a:pt x="9661" y="15676"/>
                    </a:cubicBezTo>
                    <a:cubicBezTo>
                      <a:pt x="9578" y="15542"/>
                      <a:pt x="9696" y="15392"/>
                      <a:pt x="9488" y="15301"/>
                    </a:cubicBezTo>
                    <a:cubicBezTo>
                      <a:pt x="9280" y="15211"/>
                      <a:pt x="8665" y="15175"/>
                      <a:pt x="8412" y="15134"/>
                    </a:cubicBezTo>
                    <a:cubicBezTo>
                      <a:pt x="8159" y="15093"/>
                      <a:pt x="8178" y="15181"/>
                      <a:pt x="8038" y="15177"/>
                    </a:cubicBezTo>
                    <a:cubicBezTo>
                      <a:pt x="7898" y="15172"/>
                      <a:pt x="7864" y="15006"/>
                      <a:pt x="7703" y="14987"/>
                    </a:cubicBezTo>
                    <a:cubicBezTo>
                      <a:pt x="7543" y="14968"/>
                      <a:pt x="6881" y="14939"/>
                      <a:pt x="6739" y="14837"/>
                    </a:cubicBezTo>
                    <a:cubicBezTo>
                      <a:pt x="6597" y="14734"/>
                      <a:pt x="6947" y="14402"/>
                      <a:pt x="6852" y="14372"/>
                    </a:cubicBezTo>
                    <a:cubicBezTo>
                      <a:pt x="6758" y="14341"/>
                      <a:pt x="6341" y="14662"/>
                      <a:pt x="6171" y="14653"/>
                    </a:cubicBezTo>
                    <a:cubicBezTo>
                      <a:pt x="6000" y="14643"/>
                      <a:pt x="5934" y="14385"/>
                      <a:pt x="5829" y="14315"/>
                    </a:cubicBezTo>
                    <a:cubicBezTo>
                      <a:pt x="5725" y="14244"/>
                      <a:pt x="5652" y="14418"/>
                      <a:pt x="5511" y="14384"/>
                    </a:cubicBezTo>
                    <a:cubicBezTo>
                      <a:pt x="5370" y="14350"/>
                      <a:pt x="5048" y="14226"/>
                      <a:pt x="4984" y="14111"/>
                    </a:cubicBezTo>
                    <a:cubicBezTo>
                      <a:pt x="4919" y="13997"/>
                      <a:pt x="5138" y="13848"/>
                      <a:pt x="5123" y="13696"/>
                    </a:cubicBezTo>
                    <a:cubicBezTo>
                      <a:pt x="5108" y="13543"/>
                      <a:pt x="5029" y="13285"/>
                      <a:pt x="4892" y="13194"/>
                    </a:cubicBezTo>
                    <a:cubicBezTo>
                      <a:pt x="4756" y="13104"/>
                      <a:pt x="4463" y="13423"/>
                      <a:pt x="4405" y="13273"/>
                    </a:cubicBezTo>
                    <a:cubicBezTo>
                      <a:pt x="4347" y="13122"/>
                      <a:pt x="4734" y="12485"/>
                      <a:pt x="4546" y="12291"/>
                    </a:cubicBezTo>
                    <a:lnTo>
                      <a:pt x="3903" y="12158"/>
                    </a:lnTo>
                    <a:cubicBezTo>
                      <a:pt x="3743" y="12027"/>
                      <a:pt x="3756" y="11860"/>
                      <a:pt x="3671" y="11557"/>
                    </a:cubicBezTo>
                    <a:cubicBezTo>
                      <a:pt x="3610" y="11388"/>
                      <a:pt x="3684" y="11311"/>
                      <a:pt x="3637" y="11109"/>
                    </a:cubicBezTo>
                    <a:cubicBezTo>
                      <a:pt x="3591" y="10906"/>
                      <a:pt x="3398" y="10716"/>
                      <a:pt x="3393" y="10341"/>
                    </a:cubicBezTo>
                    <a:cubicBezTo>
                      <a:pt x="3388" y="9965"/>
                      <a:pt x="3661" y="9210"/>
                      <a:pt x="3608" y="8856"/>
                    </a:cubicBezTo>
                    <a:cubicBezTo>
                      <a:pt x="3555" y="8502"/>
                      <a:pt x="3215" y="8557"/>
                      <a:pt x="3076" y="8218"/>
                    </a:cubicBezTo>
                    <a:cubicBezTo>
                      <a:pt x="2937" y="7879"/>
                      <a:pt x="2861" y="7256"/>
                      <a:pt x="2776" y="6824"/>
                    </a:cubicBezTo>
                    <a:cubicBezTo>
                      <a:pt x="2691" y="6392"/>
                      <a:pt x="2617" y="5971"/>
                      <a:pt x="2565" y="5626"/>
                    </a:cubicBezTo>
                    <a:cubicBezTo>
                      <a:pt x="2512" y="5281"/>
                      <a:pt x="2435" y="5003"/>
                      <a:pt x="2459" y="4755"/>
                    </a:cubicBezTo>
                    <a:cubicBezTo>
                      <a:pt x="2482" y="4507"/>
                      <a:pt x="2813" y="4562"/>
                      <a:pt x="2600" y="4138"/>
                    </a:cubicBezTo>
                    <a:cubicBezTo>
                      <a:pt x="2386" y="3715"/>
                      <a:pt x="1250" y="2616"/>
                      <a:pt x="944" y="2215"/>
                    </a:cubicBezTo>
                    <a:cubicBezTo>
                      <a:pt x="637" y="1814"/>
                      <a:pt x="166" y="1640"/>
                      <a:pt x="57" y="1560"/>
                    </a:cubicBezTo>
                    <a:cubicBezTo>
                      <a:pt x="-52" y="1479"/>
                      <a:pt x="15" y="1884"/>
                      <a:pt x="90" y="1922"/>
                    </a:cubicBezTo>
                    <a:cubicBezTo>
                      <a:pt x="166" y="1959"/>
                      <a:pt x="458" y="1945"/>
                      <a:pt x="509" y="1922"/>
                    </a:cubicBezTo>
                    <a:cubicBezTo>
                      <a:pt x="559" y="1899"/>
                      <a:pt x="616" y="1672"/>
                      <a:pt x="592" y="1594"/>
                    </a:cubicBezTo>
                    <a:cubicBezTo>
                      <a:pt x="569" y="1517"/>
                      <a:pt x="337" y="1359"/>
                      <a:pt x="317" y="1215"/>
                    </a:cubicBezTo>
                    <a:lnTo>
                      <a:pt x="459" y="747"/>
                    </a:lnTo>
                    <a:cubicBezTo>
                      <a:pt x="752" y="542"/>
                      <a:pt x="1668" y="47"/>
                      <a:pt x="2142" y="2"/>
                    </a:cubicBezTo>
                    <a:cubicBezTo>
                      <a:pt x="2616" y="-44"/>
                      <a:pt x="2788" y="746"/>
                      <a:pt x="3022" y="836"/>
                    </a:cubicBezTo>
                    <a:cubicBezTo>
                      <a:pt x="3257" y="927"/>
                      <a:pt x="3572" y="1898"/>
                      <a:pt x="4009" y="2360"/>
                    </a:cubicBezTo>
                    <a:cubicBezTo>
                      <a:pt x="4446" y="2823"/>
                      <a:pt x="5186" y="3371"/>
                      <a:pt x="5645" y="3611"/>
                    </a:cubicBezTo>
                    <a:cubicBezTo>
                      <a:pt x="6105" y="3850"/>
                      <a:pt x="6283" y="3896"/>
                      <a:pt x="6481" y="3971"/>
                    </a:cubicBezTo>
                    <a:cubicBezTo>
                      <a:pt x="6679" y="4045"/>
                      <a:pt x="6543" y="3961"/>
                      <a:pt x="6833" y="4059"/>
                    </a:cubicBezTo>
                    <a:cubicBezTo>
                      <a:pt x="7124" y="4157"/>
                      <a:pt x="7803" y="4303"/>
                      <a:pt x="8239" y="4438"/>
                    </a:cubicBezTo>
                    <a:cubicBezTo>
                      <a:pt x="8675" y="4573"/>
                      <a:pt x="9141" y="4723"/>
                      <a:pt x="9450" y="4869"/>
                    </a:cubicBezTo>
                    <a:cubicBezTo>
                      <a:pt x="9760" y="5016"/>
                      <a:pt x="9966" y="5165"/>
                      <a:pt x="10096" y="5317"/>
                    </a:cubicBezTo>
                    <a:cubicBezTo>
                      <a:pt x="10226" y="5469"/>
                      <a:pt x="10280" y="5662"/>
                      <a:pt x="10347" y="5800"/>
                    </a:cubicBezTo>
                    <a:cubicBezTo>
                      <a:pt x="10414" y="5938"/>
                      <a:pt x="10344" y="5981"/>
                      <a:pt x="10498" y="6145"/>
                    </a:cubicBezTo>
                    <a:cubicBezTo>
                      <a:pt x="10651" y="6308"/>
                      <a:pt x="11083" y="6406"/>
                      <a:pt x="11267" y="6541"/>
                    </a:cubicBezTo>
                    <a:cubicBezTo>
                      <a:pt x="11451" y="6676"/>
                      <a:pt x="11596" y="6811"/>
                      <a:pt x="11702" y="6886"/>
                    </a:cubicBezTo>
                    <a:cubicBezTo>
                      <a:pt x="11808" y="6960"/>
                      <a:pt x="11624" y="7156"/>
                      <a:pt x="11886" y="7075"/>
                    </a:cubicBezTo>
                    <a:cubicBezTo>
                      <a:pt x="12149" y="6995"/>
                      <a:pt x="12952" y="6437"/>
                      <a:pt x="13325" y="6317"/>
                    </a:cubicBezTo>
                    <a:cubicBezTo>
                      <a:pt x="13699" y="6197"/>
                      <a:pt x="13852" y="6319"/>
                      <a:pt x="14142" y="6268"/>
                    </a:cubicBezTo>
                    <a:cubicBezTo>
                      <a:pt x="14432" y="6216"/>
                      <a:pt x="14636" y="5995"/>
                      <a:pt x="15066" y="6007"/>
                    </a:cubicBezTo>
                    <a:cubicBezTo>
                      <a:pt x="15496" y="6018"/>
                      <a:pt x="15636" y="5804"/>
                      <a:pt x="16722" y="6337"/>
                    </a:cubicBezTo>
                    <a:lnTo>
                      <a:pt x="21548" y="9292"/>
                    </a:lnTo>
                    <a:cubicBezTo>
                      <a:pt x="21467" y="9437"/>
                      <a:pt x="21480" y="9584"/>
                      <a:pt x="21399" y="9729"/>
                    </a:cubicBezTo>
                    <a:cubicBezTo>
                      <a:pt x="21233" y="9853"/>
                      <a:pt x="20792" y="9766"/>
                      <a:pt x="20570" y="9850"/>
                    </a:cubicBezTo>
                    <a:cubicBezTo>
                      <a:pt x="20349" y="9935"/>
                      <a:pt x="20236" y="10108"/>
                      <a:pt x="20139" y="10235"/>
                    </a:cubicBezTo>
                    <a:cubicBezTo>
                      <a:pt x="20041" y="10361"/>
                      <a:pt x="19975" y="10345"/>
                      <a:pt x="19935" y="10454"/>
                    </a:cubicBezTo>
                    <a:cubicBezTo>
                      <a:pt x="19894" y="10563"/>
                      <a:pt x="19843" y="10764"/>
                      <a:pt x="19896" y="10888"/>
                    </a:cubicBezTo>
                    <a:cubicBezTo>
                      <a:pt x="20015" y="10990"/>
                      <a:pt x="19866" y="10972"/>
                      <a:pt x="19985" y="11074"/>
                    </a:cubicBezTo>
                    <a:lnTo>
                      <a:pt x="20035" y="11129"/>
                    </a:lnTo>
                    <a:cubicBezTo>
                      <a:pt x="20046" y="11256"/>
                      <a:pt x="19714" y="11498"/>
                      <a:pt x="19561" y="11638"/>
                    </a:cubicBezTo>
                    <a:cubicBezTo>
                      <a:pt x="19408" y="11778"/>
                      <a:pt x="19141" y="11829"/>
                      <a:pt x="19115" y="11971"/>
                    </a:cubicBezTo>
                    <a:cubicBezTo>
                      <a:pt x="19088" y="12112"/>
                      <a:pt x="19369" y="12140"/>
                      <a:pt x="19352" y="12278"/>
                    </a:cubicBezTo>
                    <a:cubicBezTo>
                      <a:pt x="19335" y="12416"/>
                      <a:pt x="18978" y="12534"/>
                      <a:pt x="18880" y="12677"/>
                    </a:cubicBezTo>
                    <a:cubicBezTo>
                      <a:pt x="18783" y="12821"/>
                      <a:pt x="18838" y="13034"/>
                      <a:pt x="18768" y="13138"/>
                    </a:cubicBezTo>
                    <a:cubicBezTo>
                      <a:pt x="18699" y="13241"/>
                      <a:pt x="18505" y="13202"/>
                      <a:pt x="18462" y="13298"/>
                    </a:cubicBezTo>
                    <a:cubicBezTo>
                      <a:pt x="18420" y="13393"/>
                      <a:pt x="18843" y="13581"/>
                      <a:pt x="18847" y="13711"/>
                    </a:cubicBezTo>
                    <a:cubicBezTo>
                      <a:pt x="18851" y="13842"/>
                      <a:pt x="18609" y="13848"/>
                      <a:pt x="18470" y="13892"/>
                    </a:cubicBezTo>
                    <a:cubicBezTo>
                      <a:pt x="18382" y="14357"/>
                      <a:pt x="17933" y="13652"/>
                      <a:pt x="17810" y="13852"/>
                    </a:cubicBezTo>
                    <a:cubicBezTo>
                      <a:pt x="17675" y="13922"/>
                      <a:pt x="17560" y="13885"/>
                      <a:pt x="17508" y="14056"/>
                    </a:cubicBezTo>
                    <a:cubicBezTo>
                      <a:pt x="17457" y="14227"/>
                      <a:pt x="17677" y="14818"/>
                      <a:pt x="17651" y="14949"/>
                    </a:cubicBezTo>
                    <a:cubicBezTo>
                      <a:pt x="17827" y="15190"/>
                      <a:pt x="17342" y="15427"/>
                      <a:pt x="17383" y="15494"/>
                    </a:cubicBezTo>
                  </a:path>
                </a:pathLst>
              </a:custGeom>
              <a:solidFill>
                <a:srgbClr val="6A8E1A">
                  <a:alpha val="4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15" name="Shape 97">
                <a:extLst>
                  <a:ext uri="{FF2B5EF4-FFF2-40B4-BE49-F238E27FC236}">
                    <a16:creationId xmlns:a16="http://schemas.microsoft.com/office/drawing/2014/main" xmlns="" id="{24EAECEB-A71F-0841-85FE-3D666488190B}"/>
                  </a:ext>
                </a:extLst>
              </p:cNvPr>
              <p:cNvSpPr/>
              <p:nvPr/>
            </p:nvSpPr>
            <p:spPr>
              <a:xfrm>
                <a:off x="2582954" y="1649291"/>
                <a:ext cx="2164568" cy="11627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06" h="21449" extrusionOk="0">
                    <a:moveTo>
                      <a:pt x="10412" y="7044"/>
                    </a:moveTo>
                    <a:cubicBezTo>
                      <a:pt x="10682" y="6732"/>
                      <a:pt x="10825" y="6358"/>
                      <a:pt x="10939" y="6247"/>
                    </a:cubicBezTo>
                    <a:cubicBezTo>
                      <a:pt x="11052" y="6136"/>
                      <a:pt x="11038" y="6400"/>
                      <a:pt x="11092" y="6378"/>
                    </a:cubicBezTo>
                    <a:cubicBezTo>
                      <a:pt x="11231" y="6202"/>
                      <a:pt x="11126" y="6455"/>
                      <a:pt x="11296" y="6411"/>
                    </a:cubicBezTo>
                    <a:cubicBezTo>
                      <a:pt x="11370" y="6400"/>
                      <a:pt x="11421" y="6115"/>
                      <a:pt x="11552" y="6017"/>
                    </a:cubicBezTo>
                    <a:cubicBezTo>
                      <a:pt x="11632" y="5968"/>
                      <a:pt x="11737" y="5951"/>
                      <a:pt x="11825" y="5918"/>
                    </a:cubicBezTo>
                    <a:lnTo>
                      <a:pt x="12080" y="5820"/>
                    </a:lnTo>
                    <a:cubicBezTo>
                      <a:pt x="12185" y="5781"/>
                      <a:pt x="12103" y="5661"/>
                      <a:pt x="12285" y="5589"/>
                    </a:cubicBezTo>
                    <a:cubicBezTo>
                      <a:pt x="12467" y="5518"/>
                      <a:pt x="12967" y="5381"/>
                      <a:pt x="13171" y="5392"/>
                    </a:cubicBezTo>
                    <a:cubicBezTo>
                      <a:pt x="13376" y="5403"/>
                      <a:pt x="13484" y="5694"/>
                      <a:pt x="13682" y="5754"/>
                    </a:cubicBezTo>
                    <a:cubicBezTo>
                      <a:pt x="13756" y="5557"/>
                      <a:pt x="14239" y="6280"/>
                      <a:pt x="14313" y="6083"/>
                    </a:cubicBezTo>
                    <a:cubicBezTo>
                      <a:pt x="14398" y="5447"/>
                      <a:pt x="14739" y="5041"/>
                      <a:pt x="14824" y="4406"/>
                    </a:cubicBezTo>
                    <a:lnTo>
                      <a:pt x="14994" y="2178"/>
                    </a:lnTo>
                    <a:cubicBezTo>
                      <a:pt x="15067" y="1855"/>
                      <a:pt x="15186" y="2385"/>
                      <a:pt x="15258" y="2468"/>
                    </a:cubicBezTo>
                    <a:cubicBezTo>
                      <a:pt x="15331" y="2550"/>
                      <a:pt x="15373" y="2788"/>
                      <a:pt x="15430" y="2673"/>
                    </a:cubicBezTo>
                    <a:cubicBezTo>
                      <a:pt x="15487" y="2558"/>
                      <a:pt x="15574" y="1988"/>
                      <a:pt x="15600" y="1778"/>
                    </a:cubicBezTo>
                    <a:cubicBezTo>
                      <a:pt x="15627" y="1568"/>
                      <a:pt x="15509" y="1459"/>
                      <a:pt x="15591" y="1414"/>
                    </a:cubicBezTo>
                    <a:cubicBezTo>
                      <a:pt x="15673" y="1369"/>
                      <a:pt x="15948" y="1545"/>
                      <a:pt x="16093" y="1507"/>
                    </a:cubicBezTo>
                    <a:cubicBezTo>
                      <a:pt x="16237" y="1468"/>
                      <a:pt x="16345" y="1229"/>
                      <a:pt x="16460" y="1184"/>
                    </a:cubicBezTo>
                    <a:cubicBezTo>
                      <a:pt x="16575" y="1139"/>
                      <a:pt x="16589" y="1354"/>
                      <a:pt x="16697" y="1425"/>
                    </a:cubicBezTo>
                    <a:cubicBezTo>
                      <a:pt x="16805" y="1497"/>
                      <a:pt x="16983" y="1583"/>
                      <a:pt x="17023" y="1503"/>
                    </a:cubicBezTo>
                    <a:cubicBezTo>
                      <a:pt x="17188" y="1656"/>
                      <a:pt x="16980" y="941"/>
                      <a:pt x="17023" y="756"/>
                    </a:cubicBezTo>
                    <a:cubicBezTo>
                      <a:pt x="17065" y="572"/>
                      <a:pt x="17220" y="518"/>
                      <a:pt x="17278" y="395"/>
                    </a:cubicBezTo>
                    <a:cubicBezTo>
                      <a:pt x="17337" y="271"/>
                      <a:pt x="17321" y="66"/>
                      <a:pt x="17372" y="15"/>
                    </a:cubicBezTo>
                    <a:cubicBezTo>
                      <a:pt x="17423" y="-36"/>
                      <a:pt x="17507" y="62"/>
                      <a:pt x="17586" y="89"/>
                    </a:cubicBezTo>
                    <a:cubicBezTo>
                      <a:pt x="17666" y="116"/>
                      <a:pt x="17799" y="127"/>
                      <a:pt x="17850" y="178"/>
                    </a:cubicBezTo>
                    <a:cubicBezTo>
                      <a:pt x="17901" y="229"/>
                      <a:pt x="17822" y="381"/>
                      <a:pt x="17892" y="395"/>
                    </a:cubicBezTo>
                    <a:cubicBezTo>
                      <a:pt x="17963" y="408"/>
                      <a:pt x="18001" y="167"/>
                      <a:pt x="18145" y="151"/>
                    </a:cubicBezTo>
                    <a:cubicBezTo>
                      <a:pt x="18290" y="134"/>
                      <a:pt x="18421" y="54"/>
                      <a:pt x="18508" y="296"/>
                    </a:cubicBezTo>
                    <a:cubicBezTo>
                      <a:pt x="18619" y="419"/>
                      <a:pt x="18687" y="329"/>
                      <a:pt x="18742" y="400"/>
                    </a:cubicBezTo>
                    <a:cubicBezTo>
                      <a:pt x="18796" y="470"/>
                      <a:pt x="18842" y="518"/>
                      <a:pt x="18834" y="720"/>
                    </a:cubicBezTo>
                    <a:cubicBezTo>
                      <a:pt x="18826" y="923"/>
                      <a:pt x="18841" y="1504"/>
                      <a:pt x="18834" y="1751"/>
                    </a:cubicBezTo>
                    <a:cubicBezTo>
                      <a:pt x="18828" y="1998"/>
                      <a:pt x="18779" y="2036"/>
                      <a:pt x="18795" y="2203"/>
                    </a:cubicBezTo>
                    <a:cubicBezTo>
                      <a:pt x="18811" y="2370"/>
                      <a:pt x="18830" y="2532"/>
                      <a:pt x="18933" y="2755"/>
                    </a:cubicBezTo>
                    <a:cubicBezTo>
                      <a:pt x="19035" y="2978"/>
                      <a:pt x="19284" y="3143"/>
                      <a:pt x="19411" y="3324"/>
                    </a:cubicBezTo>
                    <a:cubicBezTo>
                      <a:pt x="19537" y="3505"/>
                      <a:pt x="19563" y="3880"/>
                      <a:pt x="19650" y="4056"/>
                    </a:cubicBezTo>
                    <a:cubicBezTo>
                      <a:pt x="19736" y="4233"/>
                      <a:pt x="19736" y="4046"/>
                      <a:pt x="19818" y="4165"/>
                    </a:cubicBezTo>
                    <a:cubicBezTo>
                      <a:pt x="19900" y="4283"/>
                      <a:pt x="20062" y="4555"/>
                      <a:pt x="20141" y="4767"/>
                    </a:cubicBezTo>
                    <a:cubicBezTo>
                      <a:pt x="20193" y="4992"/>
                      <a:pt x="20048" y="5297"/>
                      <a:pt x="20100" y="5521"/>
                    </a:cubicBezTo>
                    <a:lnTo>
                      <a:pt x="20531" y="6246"/>
                    </a:lnTo>
                    <a:cubicBezTo>
                      <a:pt x="20580" y="6458"/>
                      <a:pt x="20381" y="6500"/>
                      <a:pt x="20311" y="6796"/>
                    </a:cubicBezTo>
                    <a:cubicBezTo>
                      <a:pt x="20234" y="7055"/>
                      <a:pt x="20190" y="7622"/>
                      <a:pt x="20156" y="7827"/>
                    </a:cubicBezTo>
                    <a:cubicBezTo>
                      <a:pt x="20122" y="8031"/>
                      <a:pt x="20044" y="8086"/>
                      <a:pt x="20192" y="8158"/>
                    </a:cubicBezTo>
                    <a:cubicBezTo>
                      <a:pt x="20339" y="8230"/>
                      <a:pt x="20872" y="8235"/>
                      <a:pt x="21042" y="8261"/>
                    </a:cubicBezTo>
                    <a:cubicBezTo>
                      <a:pt x="21211" y="8287"/>
                      <a:pt x="21152" y="8288"/>
                      <a:pt x="21210" y="8315"/>
                    </a:cubicBezTo>
                    <a:cubicBezTo>
                      <a:pt x="21269" y="8342"/>
                      <a:pt x="21201" y="8699"/>
                      <a:pt x="21238" y="8803"/>
                    </a:cubicBezTo>
                    <a:cubicBezTo>
                      <a:pt x="21276" y="8907"/>
                      <a:pt x="21445" y="8808"/>
                      <a:pt x="21435" y="8939"/>
                    </a:cubicBezTo>
                    <a:cubicBezTo>
                      <a:pt x="21426" y="9070"/>
                      <a:pt x="21435" y="9608"/>
                      <a:pt x="21351" y="9861"/>
                    </a:cubicBezTo>
                    <a:cubicBezTo>
                      <a:pt x="21267" y="10114"/>
                      <a:pt x="20948" y="10101"/>
                      <a:pt x="20929" y="10458"/>
                    </a:cubicBezTo>
                    <a:cubicBezTo>
                      <a:pt x="20910" y="10815"/>
                      <a:pt x="21271" y="11543"/>
                      <a:pt x="21337" y="11923"/>
                    </a:cubicBezTo>
                    <a:cubicBezTo>
                      <a:pt x="21403" y="12302"/>
                      <a:pt x="21515" y="12524"/>
                      <a:pt x="21506" y="12736"/>
                    </a:cubicBezTo>
                    <a:cubicBezTo>
                      <a:pt x="21496" y="12949"/>
                      <a:pt x="21256" y="13079"/>
                      <a:pt x="21281" y="13197"/>
                    </a:cubicBezTo>
                    <a:cubicBezTo>
                      <a:pt x="21305" y="13316"/>
                      <a:pt x="21473" y="13271"/>
                      <a:pt x="21471" y="13447"/>
                    </a:cubicBezTo>
                    <a:cubicBezTo>
                      <a:pt x="21468" y="13624"/>
                      <a:pt x="21239" y="14074"/>
                      <a:pt x="21182" y="14309"/>
                    </a:cubicBezTo>
                    <a:cubicBezTo>
                      <a:pt x="21125" y="14545"/>
                      <a:pt x="21181" y="14676"/>
                      <a:pt x="21017" y="14861"/>
                    </a:cubicBezTo>
                    <a:cubicBezTo>
                      <a:pt x="20853" y="15046"/>
                      <a:pt x="20395" y="15186"/>
                      <a:pt x="20198" y="15422"/>
                    </a:cubicBezTo>
                    <a:cubicBezTo>
                      <a:pt x="20001" y="15657"/>
                      <a:pt x="19983" y="16127"/>
                      <a:pt x="19835" y="16275"/>
                    </a:cubicBezTo>
                    <a:cubicBezTo>
                      <a:pt x="19686" y="16422"/>
                      <a:pt x="19460" y="16275"/>
                      <a:pt x="19306" y="16308"/>
                    </a:cubicBezTo>
                    <a:cubicBezTo>
                      <a:pt x="19153" y="16341"/>
                      <a:pt x="19042" y="16099"/>
                      <a:pt x="18948" y="16078"/>
                    </a:cubicBezTo>
                    <a:cubicBezTo>
                      <a:pt x="18855" y="16056"/>
                      <a:pt x="18954" y="16384"/>
                      <a:pt x="18863" y="16439"/>
                    </a:cubicBezTo>
                    <a:cubicBezTo>
                      <a:pt x="18772" y="16494"/>
                      <a:pt x="18554" y="16275"/>
                      <a:pt x="18403" y="16406"/>
                    </a:cubicBezTo>
                    <a:cubicBezTo>
                      <a:pt x="18253" y="16538"/>
                      <a:pt x="17966" y="16675"/>
                      <a:pt x="17841" y="16965"/>
                    </a:cubicBezTo>
                    <a:cubicBezTo>
                      <a:pt x="17841" y="17458"/>
                      <a:pt x="17553" y="17495"/>
                      <a:pt x="17553" y="17989"/>
                    </a:cubicBezTo>
                    <a:lnTo>
                      <a:pt x="17157" y="18595"/>
                    </a:lnTo>
                    <a:cubicBezTo>
                      <a:pt x="17518" y="18919"/>
                      <a:pt x="17363" y="18684"/>
                      <a:pt x="17500" y="18609"/>
                    </a:cubicBezTo>
                    <a:cubicBezTo>
                      <a:pt x="17636" y="18535"/>
                      <a:pt x="17876" y="18223"/>
                      <a:pt x="17977" y="18149"/>
                    </a:cubicBezTo>
                    <a:cubicBezTo>
                      <a:pt x="18078" y="18074"/>
                      <a:pt x="18040" y="18118"/>
                      <a:pt x="18103" y="18161"/>
                    </a:cubicBezTo>
                    <a:cubicBezTo>
                      <a:pt x="18166" y="18204"/>
                      <a:pt x="18222" y="18510"/>
                      <a:pt x="18286" y="18595"/>
                    </a:cubicBezTo>
                    <a:cubicBezTo>
                      <a:pt x="18350" y="18681"/>
                      <a:pt x="18486" y="18564"/>
                      <a:pt x="18488" y="18675"/>
                    </a:cubicBezTo>
                    <a:cubicBezTo>
                      <a:pt x="18474" y="18907"/>
                      <a:pt x="18295" y="19541"/>
                      <a:pt x="18199" y="19990"/>
                    </a:cubicBezTo>
                    <a:cubicBezTo>
                      <a:pt x="18102" y="20352"/>
                      <a:pt x="18020" y="21267"/>
                      <a:pt x="17909" y="21371"/>
                    </a:cubicBezTo>
                    <a:cubicBezTo>
                      <a:pt x="17825" y="21500"/>
                      <a:pt x="17752" y="21065"/>
                      <a:pt x="17709" y="20955"/>
                    </a:cubicBezTo>
                    <a:cubicBezTo>
                      <a:pt x="17667" y="20845"/>
                      <a:pt x="17684" y="20682"/>
                      <a:pt x="17653" y="20713"/>
                    </a:cubicBezTo>
                    <a:cubicBezTo>
                      <a:pt x="17622" y="20744"/>
                      <a:pt x="17664" y="21026"/>
                      <a:pt x="17522" y="21141"/>
                    </a:cubicBezTo>
                    <a:cubicBezTo>
                      <a:pt x="17585" y="21564"/>
                      <a:pt x="16952" y="21442"/>
                      <a:pt x="16801" y="21404"/>
                    </a:cubicBezTo>
                    <a:cubicBezTo>
                      <a:pt x="16676" y="21387"/>
                      <a:pt x="16608" y="20861"/>
                      <a:pt x="16528" y="20779"/>
                    </a:cubicBezTo>
                    <a:cubicBezTo>
                      <a:pt x="16449" y="20697"/>
                      <a:pt x="16563" y="21179"/>
                      <a:pt x="16324" y="20911"/>
                    </a:cubicBezTo>
                    <a:cubicBezTo>
                      <a:pt x="16017" y="20615"/>
                      <a:pt x="15571" y="20046"/>
                      <a:pt x="14983" y="19383"/>
                    </a:cubicBezTo>
                    <a:cubicBezTo>
                      <a:pt x="14656" y="19296"/>
                      <a:pt x="13220" y="17401"/>
                      <a:pt x="12796" y="16932"/>
                    </a:cubicBezTo>
                    <a:cubicBezTo>
                      <a:pt x="12372" y="16464"/>
                      <a:pt x="12498" y="16691"/>
                      <a:pt x="12438" y="16571"/>
                    </a:cubicBezTo>
                    <a:cubicBezTo>
                      <a:pt x="12387" y="16483"/>
                      <a:pt x="12356" y="16483"/>
                      <a:pt x="12336" y="16406"/>
                    </a:cubicBezTo>
                    <a:cubicBezTo>
                      <a:pt x="12316" y="16330"/>
                      <a:pt x="12539" y="16344"/>
                      <a:pt x="12319" y="16275"/>
                    </a:cubicBezTo>
                    <a:cubicBezTo>
                      <a:pt x="12099" y="16206"/>
                      <a:pt x="11428" y="15853"/>
                      <a:pt x="11073" y="15856"/>
                    </a:cubicBezTo>
                    <a:cubicBezTo>
                      <a:pt x="10718" y="15858"/>
                      <a:pt x="10461" y="16204"/>
                      <a:pt x="10187" y="16290"/>
                    </a:cubicBezTo>
                    <a:cubicBezTo>
                      <a:pt x="9914" y="16375"/>
                      <a:pt x="9741" y="16166"/>
                      <a:pt x="9432" y="16370"/>
                    </a:cubicBezTo>
                    <a:cubicBezTo>
                      <a:pt x="9123" y="16574"/>
                      <a:pt x="8428" y="17497"/>
                      <a:pt x="8334" y="17514"/>
                    </a:cubicBezTo>
                    <a:cubicBezTo>
                      <a:pt x="8176" y="17532"/>
                      <a:pt x="8003" y="16858"/>
                      <a:pt x="7868" y="16941"/>
                    </a:cubicBezTo>
                    <a:cubicBezTo>
                      <a:pt x="7732" y="17024"/>
                      <a:pt x="7703" y="16661"/>
                      <a:pt x="7578" y="16520"/>
                    </a:cubicBezTo>
                    <a:cubicBezTo>
                      <a:pt x="7453" y="16379"/>
                      <a:pt x="7314" y="16475"/>
                      <a:pt x="7116" y="16094"/>
                    </a:cubicBezTo>
                    <a:cubicBezTo>
                      <a:pt x="6918" y="15713"/>
                      <a:pt x="7009" y="14853"/>
                      <a:pt x="6388" y="14236"/>
                    </a:cubicBezTo>
                    <a:cubicBezTo>
                      <a:pt x="5767" y="13620"/>
                      <a:pt x="4011" y="12850"/>
                      <a:pt x="3389" y="12395"/>
                    </a:cubicBezTo>
                    <a:cubicBezTo>
                      <a:pt x="2792" y="11973"/>
                      <a:pt x="2835" y="11908"/>
                      <a:pt x="2707" y="11738"/>
                    </a:cubicBezTo>
                    <a:cubicBezTo>
                      <a:pt x="2579" y="11568"/>
                      <a:pt x="2670" y="11645"/>
                      <a:pt x="2605" y="11508"/>
                    </a:cubicBezTo>
                    <a:cubicBezTo>
                      <a:pt x="2540" y="11371"/>
                      <a:pt x="2366" y="11365"/>
                      <a:pt x="2213" y="11179"/>
                    </a:cubicBezTo>
                    <a:cubicBezTo>
                      <a:pt x="2059" y="10992"/>
                      <a:pt x="1892" y="10565"/>
                      <a:pt x="1702" y="10258"/>
                    </a:cubicBezTo>
                    <a:cubicBezTo>
                      <a:pt x="1523" y="10220"/>
                      <a:pt x="1281" y="9420"/>
                      <a:pt x="1173" y="9075"/>
                    </a:cubicBezTo>
                    <a:cubicBezTo>
                      <a:pt x="1065" y="8729"/>
                      <a:pt x="1063" y="8461"/>
                      <a:pt x="986" y="8187"/>
                    </a:cubicBezTo>
                    <a:cubicBezTo>
                      <a:pt x="909" y="7913"/>
                      <a:pt x="730" y="7787"/>
                      <a:pt x="611" y="7496"/>
                    </a:cubicBezTo>
                    <a:cubicBezTo>
                      <a:pt x="492" y="7206"/>
                      <a:pt x="384" y="6647"/>
                      <a:pt x="270" y="6444"/>
                    </a:cubicBezTo>
                    <a:cubicBezTo>
                      <a:pt x="156" y="6242"/>
                      <a:pt x="-85" y="6494"/>
                      <a:pt x="31" y="6214"/>
                    </a:cubicBezTo>
                    <a:cubicBezTo>
                      <a:pt x="736" y="6379"/>
                      <a:pt x="264" y="4998"/>
                      <a:pt x="969" y="5162"/>
                    </a:cubicBezTo>
                    <a:cubicBezTo>
                      <a:pt x="1159" y="4992"/>
                      <a:pt x="901" y="5348"/>
                      <a:pt x="1122" y="5557"/>
                    </a:cubicBezTo>
                    <a:cubicBezTo>
                      <a:pt x="1344" y="5765"/>
                      <a:pt x="2014" y="6209"/>
                      <a:pt x="2298" y="6411"/>
                    </a:cubicBezTo>
                    <a:cubicBezTo>
                      <a:pt x="2582" y="6614"/>
                      <a:pt x="2974" y="6258"/>
                      <a:pt x="3218" y="6346"/>
                    </a:cubicBezTo>
                    <a:cubicBezTo>
                      <a:pt x="3463" y="6433"/>
                      <a:pt x="3818" y="6674"/>
                      <a:pt x="3951" y="6839"/>
                    </a:cubicBezTo>
                    <a:cubicBezTo>
                      <a:pt x="4085" y="7003"/>
                      <a:pt x="3829" y="7255"/>
                      <a:pt x="4019" y="7332"/>
                    </a:cubicBezTo>
                    <a:cubicBezTo>
                      <a:pt x="4210" y="7409"/>
                      <a:pt x="4678" y="7321"/>
                      <a:pt x="4906" y="7398"/>
                    </a:cubicBezTo>
                    <a:cubicBezTo>
                      <a:pt x="5133" y="7474"/>
                      <a:pt x="5317" y="7694"/>
                      <a:pt x="5417" y="7529"/>
                    </a:cubicBezTo>
                    <a:cubicBezTo>
                      <a:pt x="5516" y="7365"/>
                      <a:pt x="5707" y="7151"/>
                      <a:pt x="5792" y="7003"/>
                    </a:cubicBezTo>
                    <a:cubicBezTo>
                      <a:pt x="5877" y="6855"/>
                      <a:pt x="5778" y="6483"/>
                      <a:pt x="5826" y="6378"/>
                    </a:cubicBezTo>
                    <a:cubicBezTo>
                      <a:pt x="5874" y="6274"/>
                      <a:pt x="5846" y="6181"/>
                      <a:pt x="5894" y="6115"/>
                    </a:cubicBezTo>
                    <a:cubicBezTo>
                      <a:pt x="5942" y="6050"/>
                      <a:pt x="6099" y="5913"/>
                      <a:pt x="6099" y="5820"/>
                    </a:cubicBezTo>
                    <a:cubicBezTo>
                      <a:pt x="6099" y="5726"/>
                      <a:pt x="6195" y="6110"/>
                      <a:pt x="6201" y="6050"/>
                    </a:cubicBezTo>
                    <a:cubicBezTo>
                      <a:pt x="6206" y="5989"/>
                      <a:pt x="6155" y="5765"/>
                      <a:pt x="6252" y="5885"/>
                    </a:cubicBezTo>
                    <a:cubicBezTo>
                      <a:pt x="6348" y="6006"/>
                      <a:pt x="6698" y="6548"/>
                      <a:pt x="6917" y="6937"/>
                    </a:cubicBezTo>
                    <a:cubicBezTo>
                      <a:pt x="7135" y="7326"/>
                      <a:pt x="7431" y="7990"/>
                      <a:pt x="7564" y="8220"/>
                    </a:cubicBezTo>
                    <a:cubicBezTo>
                      <a:pt x="7698" y="8450"/>
                      <a:pt x="7666" y="8340"/>
                      <a:pt x="7581" y="8154"/>
                    </a:cubicBezTo>
                    <a:cubicBezTo>
                      <a:pt x="7496" y="7968"/>
                      <a:pt x="7825" y="8724"/>
                      <a:pt x="7803" y="8581"/>
                    </a:cubicBezTo>
                    <a:cubicBezTo>
                      <a:pt x="7780" y="8439"/>
                      <a:pt x="8192" y="9047"/>
                      <a:pt x="8229" y="8943"/>
                    </a:cubicBezTo>
                    <a:cubicBezTo>
                      <a:pt x="8266" y="8839"/>
                      <a:pt x="8467" y="9332"/>
                      <a:pt x="8621" y="9107"/>
                    </a:cubicBezTo>
                    <a:cubicBezTo>
                      <a:pt x="8638" y="9107"/>
                      <a:pt x="9337" y="8417"/>
                      <a:pt x="9354" y="8417"/>
                    </a:cubicBezTo>
                    <a:lnTo>
                      <a:pt x="10412" y="7044"/>
                    </a:lnTo>
                    <a:close/>
                  </a:path>
                </a:pathLst>
              </a:custGeom>
              <a:solidFill>
                <a:srgbClr val="003300">
                  <a:alpha val="69804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sp>
            <p:nvSpPr>
              <p:cNvPr id="16" name="Shape 98">
                <a:extLst>
                  <a:ext uri="{FF2B5EF4-FFF2-40B4-BE49-F238E27FC236}">
                    <a16:creationId xmlns:a16="http://schemas.microsoft.com/office/drawing/2014/main" xmlns="" id="{BFDBCD73-5CCC-DD43-84BB-CDBFA293C2E4}"/>
                  </a:ext>
                </a:extLst>
              </p:cNvPr>
              <p:cNvSpPr/>
              <p:nvPr/>
            </p:nvSpPr>
            <p:spPr>
              <a:xfrm>
                <a:off x="2620317" y="956832"/>
                <a:ext cx="1536831" cy="11855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83" h="21391" extrusionOk="0">
                    <a:moveTo>
                      <a:pt x="17941" y="17900"/>
                    </a:moveTo>
                    <a:cubicBezTo>
                      <a:pt x="17705" y="17901"/>
                      <a:pt x="17428" y="18084"/>
                      <a:pt x="17022" y="18186"/>
                    </a:cubicBezTo>
                    <a:cubicBezTo>
                      <a:pt x="16615" y="18288"/>
                      <a:pt x="16277" y="18588"/>
                      <a:pt x="15975" y="18698"/>
                    </a:cubicBezTo>
                    <a:cubicBezTo>
                      <a:pt x="15674" y="18809"/>
                      <a:pt x="15388" y="18789"/>
                      <a:pt x="15213" y="18849"/>
                    </a:cubicBezTo>
                    <a:cubicBezTo>
                      <a:pt x="15038" y="18910"/>
                      <a:pt x="15333" y="18792"/>
                      <a:pt x="14925" y="19194"/>
                    </a:cubicBezTo>
                    <a:cubicBezTo>
                      <a:pt x="14517" y="19596"/>
                      <a:pt x="13106" y="20751"/>
                      <a:pt x="12602" y="21104"/>
                    </a:cubicBezTo>
                    <a:cubicBezTo>
                      <a:pt x="12099" y="21458"/>
                      <a:pt x="12250" y="21396"/>
                      <a:pt x="11965" y="21370"/>
                    </a:cubicBezTo>
                    <a:cubicBezTo>
                      <a:pt x="11680" y="21343"/>
                      <a:pt x="11462" y="21454"/>
                      <a:pt x="10892" y="20946"/>
                    </a:cubicBezTo>
                    <a:cubicBezTo>
                      <a:pt x="10322" y="20438"/>
                      <a:pt x="9014" y="18724"/>
                      <a:pt x="8546" y="18322"/>
                    </a:cubicBezTo>
                    <a:cubicBezTo>
                      <a:pt x="8077" y="17920"/>
                      <a:pt x="8189" y="18363"/>
                      <a:pt x="8081" y="18531"/>
                    </a:cubicBezTo>
                    <a:cubicBezTo>
                      <a:pt x="7972" y="18698"/>
                      <a:pt x="8070" y="19075"/>
                      <a:pt x="8019" y="19300"/>
                    </a:cubicBezTo>
                    <a:cubicBezTo>
                      <a:pt x="7967" y="19526"/>
                      <a:pt x="7658" y="19669"/>
                      <a:pt x="7567" y="19778"/>
                    </a:cubicBezTo>
                    <a:cubicBezTo>
                      <a:pt x="7475" y="19887"/>
                      <a:pt x="7669" y="19968"/>
                      <a:pt x="7471" y="19955"/>
                    </a:cubicBezTo>
                    <a:cubicBezTo>
                      <a:pt x="7272" y="19941"/>
                      <a:pt x="6739" y="19781"/>
                      <a:pt x="6375" y="19698"/>
                    </a:cubicBezTo>
                    <a:cubicBezTo>
                      <a:pt x="6010" y="19616"/>
                      <a:pt x="5547" y="19689"/>
                      <a:pt x="5347" y="19645"/>
                    </a:cubicBezTo>
                    <a:cubicBezTo>
                      <a:pt x="5147" y="19602"/>
                      <a:pt x="5183" y="19513"/>
                      <a:pt x="5173" y="19438"/>
                    </a:cubicBezTo>
                    <a:cubicBezTo>
                      <a:pt x="5163" y="19362"/>
                      <a:pt x="5412" y="19294"/>
                      <a:pt x="5285" y="19194"/>
                    </a:cubicBezTo>
                    <a:cubicBezTo>
                      <a:pt x="5159" y="19094"/>
                      <a:pt x="4586" y="18752"/>
                      <a:pt x="4188" y="18706"/>
                    </a:cubicBezTo>
                    <a:cubicBezTo>
                      <a:pt x="3790" y="18661"/>
                      <a:pt x="3278" y="18998"/>
                      <a:pt x="2896" y="18921"/>
                    </a:cubicBezTo>
                    <a:cubicBezTo>
                      <a:pt x="2514" y="18844"/>
                      <a:pt x="2260" y="18494"/>
                      <a:pt x="1895" y="18244"/>
                    </a:cubicBezTo>
                    <a:cubicBezTo>
                      <a:pt x="1530" y="17995"/>
                      <a:pt x="929" y="17670"/>
                      <a:pt x="706" y="17425"/>
                    </a:cubicBezTo>
                    <a:cubicBezTo>
                      <a:pt x="483" y="17179"/>
                      <a:pt x="493" y="16948"/>
                      <a:pt x="556" y="16771"/>
                    </a:cubicBezTo>
                    <a:cubicBezTo>
                      <a:pt x="619" y="16594"/>
                      <a:pt x="1217" y="16712"/>
                      <a:pt x="1083" y="16363"/>
                    </a:cubicBezTo>
                    <a:cubicBezTo>
                      <a:pt x="950" y="16014"/>
                      <a:pt x="855" y="15574"/>
                      <a:pt x="746" y="14975"/>
                    </a:cubicBezTo>
                    <a:cubicBezTo>
                      <a:pt x="637" y="14376"/>
                      <a:pt x="922" y="13498"/>
                      <a:pt x="725" y="13152"/>
                    </a:cubicBezTo>
                    <a:cubicBezTo>
                      <a:pt x="527" y="12806"/>
                      <a:pt x="143" y="12608"/>
                      <a:pt x="23" y="12164"/>
                    </a:cubicBezTo>
                    <a:cubicBezTo>
                      <a:pt x="-96" y="11719"/>
                      <a:pt x="270" y="11907"/>
                      <a:pt x="578" y="11766"/>
                    </a:cubicBezTo>
                    <a:cubicBezTo>
                      <a:pt x="887" y="11624"/>
                      <a:pt x="1233" y="11323"/>
                      <a:pt x="1524" y="10864"/>
                    </a:cubicBezTo>
                    <a:cubicBezTo>
                      <a:pt x="1815" y="10404"/>
                      <a:pt x="2129" y="9408"/>
                      <a:pt x="2325" y="9006"/>
                    </a:cubicBezTo>
                    <a:cubicBezTo>
                      <a:pt x="2521" y="8605"/>
                      <a:pt x="2546" y="8670"/>
                      <a:pt x="2700" y="8453"/>
                    </a:cubicBezTo>
                    <a:cubicBezTo>
                      <a:pt x="2854" y="8236"/>
                      <a:pt x="3059" y="7875"/>
                      <a:pt x="3250" y="7706"/>
                    </a:cubicBezTo>
                    <a:cubicBezTo>
                      <a:pt x="3441" y="7538"/>
                      <a:pt x="3702" y="7552"/>
                      <a:pt x="3846" y="7441"/>
                    </a:cubicBezTo>
                    <a:cubicBezTo>
                      <a:pt x="3990" y="7331"/>
                      <a:pt x="4062" y="6999"/>
                      <a:pt x="4319" y="6937"/>
                    </a:cubicBezTo>
                    <a:cubicBezTo>
                      <a:pt x="4576" y="6875"/>
                      <a:pt x="5152" y="7048"/>
                      <a:pt x="5326" y="6911"/>
                    </a:cubicBezTo>
                    <a:cubicBezTo>
                      <a:pt x="5501" y="6774"/>
                      <a:pt x="5330" y="6623"/>
                      <a:pt x="5367" y="6115"/>
                    </a:cubicBezTo>
                    <a:cubicBezTo>
                      <a:pt x="5405" y="5606"/>
                      <a:pt x="5456" y="4333"/>
                      <a:pt x="5552" y="3860"/>
                    </a:cubicBezTo>
                    <a:cubicBezTo>
                      <a:pt x="5648" y="3387"/>
                      <a:pt x="5792" y="3466"/>
                      <a:pt x="5943" y="3276"/>
                    </a:cubicBezTo>
                    <a:cubicBezTo>
                      <a:pt x="6094" y="3086"/>
                      <a:pt x="6018" y="3028"/>
                      <a:pt x="6395" y="2533"/>
                    </a:cubicBezTo>
                    <a:cubicBezTo>
                      <a:pt x="6772" y="2038"/>
                      <a:pt x="7803" y="168"/>
                      <a:pt x="8081" y="13"/>
                    </a:cubicBezTo>
                    <a:cubicBezTo>
                      <a:pt x="8358" y="-142"/>
                      <a:pt x="8050" y="1185"/>
                      <a:pt x="8060" y="1605"/>
                    </a:cubicBezTo>
                    <a:cubicBezTo>
                      <a:pt x="8070" y="2025"/>
                      <a:pt x="8074" y="2312"/>
                      <a:pt x="8142" y="2533"/>
                    </a:cubicBezTo>
                    <a:cubicBezTo>
                      <a:pt x="8211" y="2754"/>
                      <a:pt x="8403" y="2807"/>
                      <a:pt x="8471" y="2931"/>
                    </a:cubicBezTo>
                    <a:cubicBezTo>
                      <a:pt x="8540" y="3055"/>
                      <a:pt x="8433" y="3214"/>
                      <a:pt x="8553" y="3276"/>
                    </a:cubicBezTo>
                    <a:cubicBezTo>
                      <a:pt x="8673" y="3338"/>
                      <a:pt x="9074" y="3170"/>
                      <a:pt x="9190" y="3303"/>
                    </a:cubicBezTo>
                    <a:cubicBezTo>
                      <a:pt x="9307" y="3435"/>
                      <a:pt x="9142" y="3882"/>
                      <a:pt x="9252" y="4072"/>
                    </a:cubicBezTo>
                    <a:cubicBezTo>
                      <a:pt x="9280" y="4448"/>
                      <a:pt x="9348" y="4536"/>
                      <a:pt x="9375" y="4974"/>
                    </a:cubicBezTo>
                    <a:cubicBezTo>
                      <a:pt x="9417" y="5195"/>
                      <a:pt x="9269" y="5208"/>
                      <a:pt x="9314" y="5372"/>
                    </a:cubicBezTo>
                    <a:cubicBezTo>
                      <a:pt x="9358" y="5535"/>
                      <a:pt x="9581" y="5743"/>
                      <a:pt x="9643" y="5956"/>
                    </a:cubicBezTo>
                    <a:cubicBezTo>
                      <a:pt x="9704" y="6168"/>
                      <a:pt x="9732" y="6491"/>
                      <a:pt x="9787" y="6698"/>
                    </a:cubicBezTo>
                    <a:cubicBezTo>
                      <a:pt x="9841" y="6906"/>
                      <a:pt x="9886" y="7101"/>
                      <a:pt x="9972" y="7202"/>
                    </a:cubicBezTo>
                    <a:cubicBezTo>
                      <a:pt x="10057" y="7304"/>
                      <a:pt x="10252" y="7202"/>
                      <a:pt x="10300" y="7309"/>
                    </a:cubicBezTo>
                    <a:cubicBezTo>
                      <a:pt x="10348" y="7415"/>
                      <a:pt x="10211" y="7676"/>
                      <a:pt x="10259" y="7839"/>
                    </a:cubicBezTo>
                    <a:cubicBezTo>
                      <a:pt x="10307" y="8003"/>
                      <a:pt x="10568" y="8149"/>
                      <a:pt x="10588" y="8290"/>
                    </a:cubicBezTo>
                    <a:cubicBezTo>
                      <a:pt x="10609" y="8432"/>
                      <a:pt x="10389" y="8555"/>
                      <a:pt x="10383" y="8688"/>
                    </a:cubicBezTo>
                    <a:cubicBezTo>
                      <a:pt x="10376" y="8821"/>
                      <a:pt x="10348" y="9037"/>
                      <a:pt x="10547" y="9086"/>
                    </a:cubicBezTo>
                    <a:cubicBezTo>
                      <a:pt x="10746" y="9135"/>
                      <a:pt x="11318" y="8971"/>
                      <a:pt x="11575" y="8980"/>
                    </a:cubicBezTo>
                    <a:cubicBezTo>
                      <a:pt x="11832" y="8989"/>
                      <a:pt x="12003" y="9086"/>
                      <a:pt x="12089" y="9139"/>
                    </a:cubicBezTo>
                    <a:cubicBezTo>
                      <a:pt x="12174" y="9192"/>
                      <a:pt x="12020" y="9241"/>
                      <a:pt x="12089" y="9298"/>
                    </a:cubicBezTo>
                    <a:cubicBezTo>
                      <a:pt x="12157" y="9356"/>
                      <a:pt x="12250" y="9241"/>
                      <a:pt x="12500" y="9484"/>
                    </a:cubicBezTo>
                    <a:cubicBezTo>
                      <a:pt x="12750" y="9727"/>
                      <a:pt x="13473" y="10536"/>
                      <a:pt x="13692" y="10651"/>
                    </a:cubicBezTo>
                    <a:cubicBezTo>
                      <a:pt x="13911" y="10766"/>
                      <a:pt x="13712" y="10276"/>
                      <a:pt x="13815" y="10174"/>
                    </a:cubicBezTo>
                    <a:cubicBezTo>
                      <a:pt x="13918" y="10072"/>
                      <a:pt x="14202" y="10072"/>
                      <a:pt x="14308" y="10041"/>
                    </a:cubicBezTo>
                    <a:cubicBezTo>
                      <a:pt x="14415" y="10010"/>
                      <a:pt x="14411" y="10249"/>
                      <a:pt x="14699" y="10227"/>
                    </a:cubicBezTo>
                    <a:cubicBezTo>
                      <a:pt x="14987" y="10205"/>
                      <a:pt x="15826" y="9811"/>
                      <a:pt x="16035" y="9909"/>
                    </a:cubicBezTo>
                    <a:cubicBezTo>
                      <a:pt x="16244" y="10006"/>
                      <a:pt x="16343" y="10430"/>
                      <a:pt x="16384" y="10519"/>
                    </a:cubicBezTo>
                    <a:cubicBezTo>
                      <a:pt x="16426" y="10607"/>
                      <a:pt x="16059" y="10793"/>
                      <a:pt x="16097" y="10917"/>
                    </a:cubicBezTo>
                    <a:cubicBezTo>
                      <a:pt x="16134" y="11040"/>
                      <a:pt x="16336" y="11407"/>
                      <a:pt x="16426" y="11580"/>
                    </a:cubicBezTo>
                    <a:cubicBezTo>
                      <a:pt x="16515" y="11752"/>
                      <a:pt x="16155" y="12115"/>
                      <a:pt x="16220" y="12217"/>
                    </a:cubicBezTo>
                    <a:cubicBezTo>
                      <a:pt x="16285" y="12318"/>
                      <a:pt x="16593" y="12004"/>
                      <a:pt x="16816" y="12190"/>
                    </a:cubicBezTo>
                    <a:cubicBezTo>
                      <a:pt x="16987" y="12225"/>
                      <a:pt x="16624" y="12283"/>
                      <a:pt x="16816" y="12429"/>
                    </a:cubicBezTo>
                    <a:cubicBezTo>
                      <a:pt x="16922" y="12508"/>
                      <a:pt x="17282" y="12270"/>
                      <a:pt x="17474" y="12376"/>
                    </a:cubicBezTo>
                    <a:cubicBezTo>
                      <a:pt x="17669" y="12376"/>
                      <a:pt x="17806" y="12496"/>
                      <a:pt x="18029" y="12535"/>
                    </a:cubicBezTo>
                    <a:cubicBezTo>
                      <a:pt x="18252" y="12574"/>
                      <a:pt x="18299" y="12515"/>
                      <a:pt x="18442" y="12528"/>
                    </a:cubicBezTo>
                    <a:cubicBezTo>
                      <a:pt x="18586" y="12541"/>
                      <a:pt x="18749" y="12631"/>
                      <a:pt x="18892" y="12615"/>
                    </a:cubicBezTo>
                    <a:cubicBezTo>
                      <a:pt x="19035" y="12598"/>
                      <a:pt x="19015" y="12384"/>
                      <a:pt x="19159" y="12323"/>
                    </a:cubicBezTo>
                    <a:cubicBezTo>
                      <a:pt x="19304" y="12262"/>
                      <a:pt x="19701" y="12196"/>
                      <a:pt x="19759" y="12249"/>
                    </a:cubicBezTo>
                    <a:cubicBezTo>
                      <a:pt x="19817" y="12302"/>
                      <a:pt x="19589" y="12561"/>
                      <a:pt x="19509" y="12641"/>
                    </a:cubicBezTo>
                    <a:cubicBezTo>
                      <a:pt x="19428" y="12721"/>
                      <a:pt x="19303" y="12613"/>
                      <a:pt x="19275" y="12728"/>
                    </a:cubicBezTo>
                    <a:cubicBezTo>
                      <a:pt x="19248" y="12842"/>
                      <a:pt x="19284" y="13165"/>
                      <a:pt x="19344" y="13331"/>
                    </a:cubicBezTo>
                    <a:cubicBezTo>
                      <a:pt x="19404" y="13497"/>
                      <a:pt x="19587" y="13586"/>
                      <a:pt x="19635" y="13723"/>
                    </a:cubicBezTo>
                    <a:cubicBezTo>
                      <a:pt x="19683" y="13860"/>
                      <a:pt x="19562" y="14017"/>
                      <a:pt x="19632" y="14153"/>
                    </a:cubicBezTo>
                    <a:cubicBezTo>
                      <a:pt x="19702" y="14289"/>
                      <a:pt x="19819" y="14402"/>
                      <a:pt x="19974" y="14381"/>
                    </a:cubicBezTo>
                    <a:cubicBezTo>
                      <a:pt x="20129" y="14359"/>
                      <a:pt x="20426" y="14051"/>
                      <a:pt x="20561" y="14026"/>
                    </a:cubicBezTo>
                    <a:cubicBezTo>
                      <a:pt x="20696" y="14002"/>
                      <a:pt x="20649" y="14161"/>
                      <a:pt x="20783" y="14233"/>
                    </a:cubicBezTo>
                    <a:cubicBezTo>
                      <a:pt x="20917" y="14305"/>
                      <a:pt x="21158" y="13914"/>
                      <a:pt x="21219" y="14113"/>
                    </a:cubicBezTo>
                    <a:cubicBezTo>
                      <a:pt x="21197" y="14551"/>
                      <a:pt x="21504" y="14220"/>
                      <a:pt x="21482" y="14657"/>
                    </a:cubicBezTo>
                    <a:lnTo>
                      <a:pt x="21090" y="17015"/>
                    </a:lnTo>
                    <a:lnTo>
                      <a:pt x="20352" y="18434"/>
                    </a:lnTo>
                    <a:lnTo>
                      <a:pt x="18770" y="17785"/>
                    </a:lnTo>
                    <a:lnTo>
                      <a:pt x="17941" y="17900"/>
                    </a:lnTo>
                    <a:close/>
                  </a:path>
                </a:pathLst>
              </a:custGeom>
              <a:solidFill>
                <a:srgbClr val="044D84">
                  <a:alpha val="4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>
                    <a:solidFill>
                      <a:srgbClr val="FFFFFF"/>
                    </a:solidFill>
                  </a:defRPr>
                </a:pPr>
                <a:endParaRPr/>
              </a:p>
            </p:txBody>
          </p:sp>
          <p:pic>
            <p:nvPicPr>
              <p:cNvPr id="17" name="image5.png" descr="http://barrum.ru/wp-content/uploads/2013/03/334.png">
                <a:extLst>
                  <a:ext uri="{FF2B5EF4-FFF2-40B4-BE49-F238E27FC236}">
                    <a16:creationId xmlns:a16="http://schemas.microsoft.com/office/drawing/2014/main" xmlns="" id="{0F1F046D-4DFA-DD4E-BD17-C7E8B4C75A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/>
              </a:blip>
              <a:stretch>
                <a:fillRect/>
              </a:stretch>
            </p:blipFill>
            <p:spPr>
              <a:xfrm>
                <a:off x="3041948" y="2444969"/>
                <a:ext cx="222921" cy="18380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18" name="image6.png" descr="http://barrum.ru/wp-content/uploads/2013/03/334.png">
                <a:extLst>
                  <a:ext uri="{FF2B5EF4-FFF2-40B4-BE49-F238E27FC236}">
                    <a16:creationId xmlns:a16="http://schemas.microsoft.com/office/drawing/2014/main" xmlns="" id="{C5DF1BB5-CC15-0747-A76C-728AE6B3E1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/>
              </a:blip>
              <a:stretch>
                <a:fillRect/>
              </a:stretch>
            </p:blipFill>
            <p:spPr>
              <a:xfrm>
                <a:off x="3228636" y="1558876"/>
                <a:ext cx="213645" cy="176153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19" name="image7.png" descr="http://barrum.ru/wp-content/uploads/2013/03/334.png">
                <a:extLst>
                  <a:ext uri="{FF2B5EF4-FFF2-40B4-BE49-F238E27FC236}">
                    <a16:creationId xmlns:a16="http://schemas.microsoft.com/office/drawing/2014/main" xmlns="" id="{593CE300-AECE-D34E-A899-1A9AE5E616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/>
              </a:blip>
              <a:stretch>
                <a:fillRect/>
              </a:stretch>
            </p:blipFill>
            <p:spPr>
              <a:xfrm>
                <a:off x="1981232" y="1080341"/>
                <a:ext cx="189504" cy="156249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pic>
            <p:nvPicPr>
              <p:cNvPr id="20" name="image8.png" descr="http://barrum.ru/wp-content/uploads/2013/03/334.png">
                <a:extLst>
                  <a:ext uri="{FF2B5EF4-FFF2-40B4-BE49-F238E27FC236}">
                    <a16:creationId xmlns:a16="http://schemas.microsoft.com/office/drawing/2014/main" xmlns="" id="{3BC474BA-14FB-264F-BB25-ADEE237D94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/>
              </a:blip>
              <a:stretch>
                <a:fillRect/>
              </a:stretch>
            </p:blipFill>
            <p:spPr>
              <a:xfrm>
                <a:off x="1404410" y="2176297"/>
                <a:ext cx="203531" cy="167814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21" name="Shape 106">
                <a:extLst>
                  <a:ext uri="{FF2B5EF4-FFF2-40B4-BE49-F238E27FC236}">
                    <a16:creationId xmlns:a16="http://schemas.microsoft.com/office/drawing/2014/main" xmlns="" id="{7762441D-77CD-2F47-AA3D-A6C1901AF107}"/>
                  </a:ext>
                </a:extLst>
              </p:cNvPr>
              <p:cNvSpPr/>
              <p:nvPr/>
            </p:nvSpPr>
            <p:spPr>
              <a:xfrm>
                <a:off x="2928920" y="1681027"/>
                <a:ext cx="1200516" cy="22293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400" b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sz="1100" dirty="0" err="1">
                    <a:solidFill>
                      <a:schemeClr val="tx1"/>
                    </a:solidFill>
                    <a:latin typeface="+mn-lt"/>
                  </a:rPr>
                  <a:t>Хартия</a:t>
                </a:r>
                <a:endParaRPr sz="11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sp>
            <p:nvSpPr>
              <p:cNvPr id="22" name="Shape 107">
                <a:extLst>
                  <a:ext uri="{FF2B5EF4-FFF2-40B4-BE49-F238E27FC236}">
                    <a16:creationId xmlns:a16="http://schemas.microsoft.com/office/drawing/2014/main" xmlns="" id="{1A086434-10C9-C847-B2AF-91CCB9D4CB3B}"/>
                  </a:ext>
                </a:extLst>
              </p:cNvPr>
              <p:cNvSpPr/>
              <p:nvPr/>
            </p:nvSpPr>
            <p:spPr>
              <a:xfrm>
                <a:off x="2980778" y="2122015"/>
                <a:ext cx="1766745" cy="20968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400" b="1">
                    <a:solidFill>
                      <a:srgbClr val="FFFFFF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lang="ru-RU" sz="1100" dirty="0" err="1">
                    <a:solidFill>
                      <a:schemeClr val="bg1"/>
                    </a:solidFill>
                    <a:latin typeface="+mn-lt"/>
                  </a:rPr>
                  <a:t>ЭкоЛайн</a:t>
                </a:r>
                <a:r>
                  <a:rPr lang="ru-RU" sz="1100" dirty="0">
                    <a:solidFill>
                      <a:schemeClr val="bg1"/>
                    </a:solidFill>
                    <a:latin typeface="+mn-lt"/>
                  </a:rPr>
                  <a:t>-Воскресенск</a:t>
                </a:r>
                <a:endParaRPr sz="1100" dirty="0">
                  <a:solidFill>
                    <a:schemeClr val="bg1"/>
                  </a:solidFill>
                  <a:latin typeface="+mn-lt"/>
                </a:endParaRPr>
              </a:p>
            </p:txBody>
          </p:sp>
          <p:sp>
            <p:nvSpPr>
              <p:cNvPr id="23" name="Shape 108">
                <a:extLst>
                  <a:ext uri="{FF2B5EF4-FFF2-40B4-BE49-F238E27FC236}">
                    <a16:creationId xmlns:a16="http://schemas.microsoft.com/office/drawing/2014/main" xmlns="" id="{6102C365-F057-474F-84E2-3A4186C15C7B}"/>
                  </a:ext>
                </a:extLst>
              </p:cNvPr>
              <p:cNvSpPr/>
              <p:nvPr/>
            </p:nvSpPr>
            <p:spPr>
              <a:xfrm>
                <a:off x="1799063" y="2690810"/>
                <a:ext cx="1200516" cy="22293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400" b="1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sz="1100" dirty="0">
                    <a:latin typeface="+mn-lt"/>
                  </a:rPr>
                  <a:t>МСК-НТ</a:t>
                </a:r>
              </a:p>
            </p:txBody>
          </p:sp>
          <p:sp>
            <p:nvSpPr>
              <p:cNvPr id="24" name="Shape 109">
                <a:extLst>
                  <a:ext uri="{FF2B5EF4-FFF2-40B4-BE49-F238E27FC236}">
                    <a16:creationId xmlns:a16="http://schemas.microsoft.com/office/drawing/2014/main" xmlns="" id="{09759AA4-AFFB-F84B-83A1-C3C07C972A68}"/>
                  </a:ext>
                </a:extLst>
              </p:cNvPr>
              <p:cNvSpPr/>
              <p:nvPr/>
            </p:nvSpPr>
            <p:spPr>
              <a:xfrm>
                <a:off x="732782" y="727128"/>
                <a:ext cx="1694231" cy="35494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>
                <a:lvl1pPr algn="ctr">
                  <a:defRPr sz="1400" b="1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lang="ru-RU" sz="1100" dirty="0" err="1">
                    <a:latin typeface="+mn-lt"/>
                  </a:rPr>
                  <a:t>Экопромсервис</a:t>
                </a:r>
                <a:endParaRPr sz="1100" dirty="0">
                  <a:latin typeface="+mn-lt"/>
                </a:endParaRPr>
              </a:p>
            </p:txBody>
          </p:sp>
          <p:sp>
            <p:nvSpPr>
              <p:cNvPr id="25" name="Shape 110">
                <a:extLst>
                  <a:ext uri="{FF2B5EF4-FFF2-40B4-BE49-F238E27FC236}">
                    <a16:creationId xmlns:a16="http://schemas.microsoft.com/office/drawing/2014/main" xmlns="" id="{C446E2C9-BEB6-564D-9A94-1AB2009AD841}"/>
                  </a:ext>
                </a:extLst>
              </p:cNvPr>
              <p:cNvSpPr/>
              <p:nvPr/>
            </p:nvSpPr>
            <p:spPr>
              <a:xfrm>
                <a:off x="456234" y="1005544"/>
                <a:ext cx="222322" cy="30584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b="1" dirty="0"/>
              </a:p>
            </p:txBody>
          </p:sp>
          <p:sp>
            <p:nvSpPr>
              <p:cNvPr id="26" name="Shape 111">
                <a:extLst>
                  <a:ext uri="{FF2B5EF4-FFF2-40B4-BE49-F238E27FC236}">
                    <a16:creationId xmlns:a16="http://schemas.microsoft.com/office/drawing/2014/main" xmlns="" id="{2CD1FA03-C916-FC49-BA09-A7DD0FDB11BB}"/>
                  </a:ext>
                </a:extLst>
              </p:cNvPr>
              <p:cNvSpPr/>
              <p:nvPr/>
            </p:nvSpPr>
            <p:spPr>
              <a:xfrm>
                <a:off x="1698139" y="530998"/>
                <a:ext cx="193701" cy="30584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b="1" dirty="0"/>
              </a:p>
            </p:txBody>
          </p:sp>
          <p:sp>
            <p:nvSpPr>
              <p:cNvPr id="27" name="Shape 112">
                <a:extLst>
                  <a:ext uri="{FF2B5EF4-FFF2-40B4-BE49-F238E27FC236}">
                    <a16:creationId xmlns:a16="http://schemas.microsoft.com/office/drawing/2014/main" xmlns="" id="{01CB9D21-974B-6248-B39E-1EA61D286971}"/>
                  </a:ext>
                </a:extLst>
              </p:cNvPr>
              <p:cNvSpPr/>
              <p:nvPr/>
            </p:nvSpPr>
            <p:spPr>
              <a:xfrm>
                <a:off x="2519087" y="67499"/>
                <a:ext cx="284621" cy="30584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b="1" dirty="0"/>
              </a:p>
            </p:txBody>
          </p:sp>
          <p:sp>
            <p:nvSpPr>
              <p:cNvPr id="28" name="Shape 113">
                <a:extLst>
                  <a:ext uri="{FF2B5EF4-FFF2-40B4-BE49-F238E27FC236}">
                    <a16:creationId xmlns:a16="http://schemas.microsoft.com/office/drawing/2014/main" xmlns="" id="{40A7841F-B6EC-6947-A0B2-83276B2726DD}"/>
                  </a:ext>
                </a:extLst>
              </p:cNvPr>
              <p:cNvSpPr/>
              <p:nvPr/>
            </p:nvSpPr>
            <p:spPr>
              <a:xfrm>
                <a:off x="3045667" y="1226098"/>
                <a:ext cx="220766" cy="30584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/>
              </a:p>
            </p:txBody>
          </p:sp>
          <p:sp>
            <p:nvSpPr>
              <p:cNvPr id="29" name="Shape 114">
                <a:extLst>
                  <a:ext uri="{FF2B5EF4-FFF2-40B4-BE49-F238E27FC236}">
                    <a16:creationId xmlns:a16="http://schemas.microsoft.com/office/drawing/2014/main" xmlns="" id="{C75B5202-0286-1545-8A84-2B5B3B7B1148}"/>
                  </a:ext>
                </a:extLst>
              </p:cNvPr>
              <p:cNvSpPr/>
              <p:nvPr/>
            </p:nvSpPr>
            <p:spPr>
              <a:xfrm>
                <a:off x="4346169" y="1672927"/>
                <a:ext cx="166742" cy="30584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Shape 115">
                <a:extLst>
                  <a:ext uri="{FF2B5EF4-FFF2-40B4-BE49-F238E27FC236}">
                    <a16:creationId xmlns:a16="http://schemas.microsoft.com/office/drawing/2014/main" xmlns="" id="{38AC84F6-CFE0-FC4B-9C3C-9A13EE5EE0EB}"/>
                  </a:ext>
                </a:extLst>
              </p:cNvPr>
              <p:cNvSpPr/>
              <p:nvPr/>
            </p:nvSpPr>
            <p:spPr>
              <a:xfrm>
                <a:off x="2810435" y="2534432"/>
                <a:ext cx="178433" cy="30584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/>
              </a:p>
            </p:txBody>
          </p:sp>
          <p:sp>
            <p:nvSpPr>
              <p:cNvPr id="31" name="Shape 116">
                <a:extLst>
                  <a:ext uri="{FF2B5EF4-FFF2-40B4-BE49-F238E27FC236}">
                    <a16:creationId xmlns:a16="http://schemas.microsoft.com/office/drawing/2014/main" xmlns="" id="{B1F438E8-214C-F143-A474-3D4C3F0E6817}"/>
                  </a:ext>
                </a:extLst>
              </p:cNvPr>
              <p:cNvSpPr/>
              <p:nvPr/>
            </p:nvSpPr>
            <p:spPr>
              <a:xfrm>
                <a:off x="2376777" y="2270628"/>
                <a:ext cx="142310" cy="30584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endParaRPr dirty="0"/>
              </a:p>
            </p:txBody>
          </p:sp>
        </p:grpSp>
        <p:sp>
          <p:nvSpPr>
            <p:cNvPr id="6" name="Shape 109">
              <a:extLst>
                <a:ext uri="{FF2B5EF4-FFF2-40B4-BE49-F238E27FC236}">
                  <a16:creationId xmlns:a16="http://schemas.microsoft.com/office/drawing/2014/main" xmlns="" id="{654F153F-4254-E240-BBA9-1FA79D2A2110}"/>
                </a:ext>
              </a:extLst>
            </p:cNvPr>
            <p:cNvSpPr/>
            <p:nvPr/>
          </p:nvSpPr>
          <p:spPr>
            <a:xfrm>
              <a:off x="1818409" y="1002854"/>
              <a:ext cx="1120614" cy="2913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no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ru-RU" sz="1100" dirty="0">
                  <a:latin typeface="+mn-lt"/>
                </a:rPr>
                <a:t>Сергиево-Посадский региональный оператор</a:t>
              </a:r>
              <a:endParaRPr sz="1100" dirty="0">
                <a:latin typeface="+mn-lt"/>
              </a:endParaRPr>
            </a:p>
          </p:txBody>
        </p:sp>
        <p:sp>
          <p:nvSpPr>
            <p:cNvPr id="7" name="Shape 109">
              <a:extLst>
                <a:ext uri="{FF2B5EF4-FFF2-40B4-BE49-F238E27FC236}">
                  <a16:creationId xmlns:a16="http://schemas.microsoft.com/office/drawing/2014/main" xmlns="" id="{C1EFD7F6-0DD4-8D42-8159-58F60969FF45}"/>
                </a:ext>
              </a:extLst>
            </p:cNvPr>
            <p:cNvSpPr/>
            <p:nvPr/>
          </p:nvSpPr>
          <p:spPr>
            <a:xfrm>
              <a:off x="334603" y="2068602"/>
              <a:ext cx="1257869" cy="36876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no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ru-RU" sz="1100" dirty="0">
                  <a:latin typeface="+mn-lt"/>
                </a:rPr>
                <a:t>Рузский региональный оператор</a:t>
              </a:r>
              <a:endParaRPr sz="1100" dirty="0">
                <a:latin typeface="+mn-lt"/>
              </a:endParaRPr>
            </a:p>
          </p:txBody>
        </p:sp>
        <p:sp>
          <p:nvSpPr>
            <p:cNvPr id="8" name="Shape 109">
              <a:extLst>
                <a:ext uri="{FF2B5EF4-FFF2-40B4-BE49-F238E27FC236}">
                  <a16:creationId xmlns:a16="http://schemas.microsoft.com/office/drawing/2014/main" xmlns="" id="{827EEE10-EA77-6240-B02E-54DCD680158F}"/>
                </a:ext>
              </a:extLst>
            </p:cNvPr>
            <p:cNvSpPr/>
            <p:nvPr/>
          </p:nvSpPr>
          <p:spPr>
            <a:xfrm>
              <a:off x="2534537" y="3132887"/>
              <a:ext cx="1282427" cy="2902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noAutofit/>
            </a:bodyPr>
            <a:lstStyle>
              <a:lvl1pPr algn="ctr">
                <a:defRPr sz="1400" b="1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ru-RU" sz="1100" dirty="0">
                  <a:latin typeface="+mn-lt"/>
                </a:rPr>
                <a:t>Каширский региональный оператор</a:t>
              </a:r>
              <a:endParaRPr sz="1100" dirty="0">
                <a:latin typeface="+mn-lt"/>
              </a:endParaRPr>
            </a:p>
          </p:txBody>
        </p:sp>
      </p:grpSp>
      <p:graphicFrame>
        <p:nvGraphicFramePr>
          <p:cNvPr id="32" name="Table 119">
            <a:extLst>
              <a:ext uri="{FF2B5EF4-FFF2-40B4-BE49-F238E27FC236}">
                <a16:creationId xmlns:a16="http://schemas.microsoft.com/office/drawing/2014/main" xmlns="" id="{51B6402A-FE4C-0947-BDF2-F082AB68FC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3447318"/>
              </p:ext>
            </p:extLst>
          </p:nvPr>
        </p:nvGraphicFramePr>
        <p:xfrm>
          <a:off x="4700627" y="947475"/>
          <a:ext cx="4186199" cy="3646055"/>
        </p:xfrm>
        <a:graphic>
          <a:graphicData uri="http://schemas.openxmlformats.org/drawingml/2006/table">
            <a:tbl>
              <a:tblPr/>
              <a:tblGrid>
                <a:gridCol w="1639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9502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5346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738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53295"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sz="1200" b="1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№</a:t>
                      </a:r>
                    </a:p>
                  </a:txBody>
                  <a:tcPr marL="61068" marR="61068" marT="30534" marB="36000" anchor="b" horzOverflow="overflow">
                    <a:lnL w="19050">
                      <a:noFill/>
                    </a:lnL>
                    <a:lnR w="19050">
                      <a:noFill/>
                    </a:lnR>
                    <a:lnT w="19050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Показатели</a:t>
                      </a:r>
                      <a:endParaRPr sz="1200" b="1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61068" marR="61068" marT="30534" marB="36000" anchor="b" horzOverflow="overflow">
                    <a:lnL w="19050">
                      <a:noFill/>
                    </a:lnL>
                    <a:lnR w="19050">
                      <a:noFill/>
                    </a:lnR>
                    <a:lnT w="19050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ОГВ</a:t>
                      </a:r>
                      <a:endParaRPr sz="1200" b="1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61068" marR="61068" marT="30534" marB="36000" anchor="b" horzOverflow="overflow">
                    <a:lnL w="19050">
                      <a:noFill/>
                    </a:lnL>
                    <a:lnR w="19050">
                      <a:noFill/>
                    </a:lnR>
                    <a:lnT w="19050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/>
                        <a:t>№ документа</a:t>
                      </a:r>
                    </a:p>
                  </a:txBody>
                  <a:tcPr marL="61068" marR="61068" marT="30534" marB="36000" anchor="b" horzOverflow="overflow">
                    <a:lnL w="19050">
                      <a:noFill/>
                    </a:lnL>
                    <a:lnR w="19050">
                      <a:noFill/>
                    </a:lnR>
                    <a:lnT w="19050">
                      <a:noFill/>
                    </a:lnT>
                    <a:lnB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08173"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sz="11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1</a:t>
                      </a: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Проведен конкурс и заключены Соглашения с РО</a:t>
                      </a: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ин</a:t>
                      </a:r>
                      <a:r>
                        <a:rPr lang="ru-RU" sz="1100" baseline="0" dirty="0"/>
                        <a:t>экологии МО</a:t>
                      </a:r>
                      <a:endParaRPr lang="ru-RU" sz="1100" dirty="0"/>
                    </a:p>
                  </a:txBody>
                  <a:tcPr marL="7200" marR="187200" marT="3600" marB="3600" anchor="ctr">
                    <a:lnL w="19050">
                      <a:noFill/>
                    </a:lnL>
                    <a:lnR w="19050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100" dirty="0"/>
                        <a:t>Соглашения об</a:t>
                      </a:r>
                      <a:r>
                        <a:rPr lang="ru-RU" sz="1100" baseline="0" dirty="0"/>
                        <a:t> организации деятельности по обращению с ТКО в зонах региональных операторов</a:t>
                      </a:r>
                      <a:endParaRPr lang="ru-RU" sz="1100" dirty="0"/>
                    </a:p>
                  </a:txBody>
                  <a:tcPr marL="36000" marR="7200" marT="3600" marB="3600" anchor="ctr">
                    <a:lnL w="19050">
                      <a:noFill/>
                    </a:lnL>
                    <a:lnR w="19050">
                      <a:noFill/>
                    </a:lnR>
                    <a:lnT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69351"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2</a:t>
                      </a:r>
                      <a:endParaRPr sz="11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Утверждение тарифа</a:t>
                      </a:r>
                      <a:endParaRPr sz="11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dirty="0"/>
                        <a:t>Комитет по ценам и тарифам</a:t>
                      </a:r>
                    </a:p>
                    <a:p>
                      <a:pPr marL="0" algn="ctr" defTabSz="685800" rtl="0" eaLnBrk="1" fontAlgn="ctr" latinLnBrk="0" hangingPunct="1">
                        <a:defRPr sz="1800">
                          <a:solidFill>
                            <a:srgbClr val="000000"/>
                          </a:solidFill>
                        </a:defRPr>
                      </a:pPr>
                      <a:endParaRPr lang="ru-RU" sz="1100" kern="12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200" marR="187200" marT="3600" marB="3600" anchor="ctr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kern="12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Постановление Правительства</a:t>
                      </a:r>
                      <a:r>
                        <a:rPr lang="ru-RU" sz="1100" kern="1200" baseline="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Московской области №690/34</a:t>
                      </a:r>
                      <a:endParaRPr lang="ru-RU" sz="1100" kern="12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36000" marR="7200" marT="3600" marB="3600" anchor="ctr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07618">
                <a:tc>
                  <a:txBody>
                    <a:bodyPr/>
                    <a:lstStyle/>
                    <a:p>
                      <a:pPr algn="ctr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3</a:t>
                      </a:r>
                      <a:endParaRPr sz="11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Утверждение норматива</a:t>
                      </a:r>
                      <a:endParaRPr sz="11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ин</a:t>
                      </a:r>
                      <a:r>
                        <a:rPr lang="ru-RU" sz="1100" baseline="0" dirty="0"/>
                        <a:t> экологии МО</a:t>
                      </a:r>
                      <a:endParaRPr lang="ru-RU" sz="1100" dirty="0"/>
                    </a:p>
                  </a:txBody>
                  <a:tcPr marL="7200" marR="187200" marT="3600" marB="3600" anchor="ctr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kern="12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Распоряжение №607-РМ</a:t>
                      </a:r>
                    </a:p>
                  </a:txBody>
                  <a:tcPr marL="36000" marR="7200" marT="3600" marB="3600" anchor="ctr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807618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kern="12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4</a:t>
                      </a:r>
                      <a:endParaRPr sz="1100" kern="12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kern="12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  <a:sym typeface="Times New Roman"/>
                        </a:rPr>
                        <a:t>Передача полномочий в области отходов</a:t>
                      </a:r>
                      <a:endParaRPr sz="1100" kern="1200" dirty="0">
                        <a:solidFill>
                          <a:srgbClr val="1D1D1B"/>
                        </a:solidFill>
                        <a:latin typeface="+mn-lt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42408" marR="42408" marT="42408" marB="42408" anchor="ctr" horzOverflow="overflow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kern="1200" dirty="0" err="1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МинЖКХ</a:t>
                      </a:r>
                      <a:r>
                        <a:rPr lang="ru-RU" sz="1100" kern="12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 МО</a:t>
                      </a:r>
                    </a:p>
                  </a:txBody>
                  <a:tcPr marL="7200" marR="187200" marT="3600" marB="3600" anchor="ctr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>
                        <a:defRPr sz="1800">
                          <a:solidFill>
                            <a:srgbClr val="000000"/>
                          </a:solidFill>
                        </a:defRPr>
                      </a:pPr>
                      <a:r>
                        <a:rPr lang="ru-RU" sz="1100" kern="12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Постановление Губернатора МО </a:t>
                      </a:r>
                      <a:r>
                        <a:rPr lang="ru-RU" sz="1100" kern="1200" dirty="0" smtClean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№ </a:t>
                      </a:r>
                      <a:r>
                        <a:rPr lang="ru-RU" sz="1100" kern="1200" dirty="0">
                          <a:solidFill>
                            <a:srgbClr val="1D1D1B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462-ПГ</a:t>
                      </a:r>
                    </a:p>
                  </a:txBody>
                  <a:tcPr marL="36000" marR="7200" marT="3600" marB="3600" anchor="ctr">
                    <a:lnL w="19050">
                      <a:noFill/>
                    </a:lnL>
                    <a:lnR w="19050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60204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право 3"/>
          <p:cNvSpPr/>
          <p:nvPr/>
        </p:nvSpPr>
        <p:spPr>
          <a:xfrm>
            <a:off x="4493554" y="1655601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950977" y="1208614"/>
            <a:ext cx="2125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>
                <a:solidFill>
                  <a:srgbClr val="FF0000"/>
                </a:solidFill>
              </a:defRPr>
            </a:lvl1pPr>
          </a:lstStyle>
          <a:p>
            <a:r>
              <a:rPr lang="ru-RU" sz="1600" b="1" dirty="0">
                <a:solidFill>
                  <a:srgbClr val="00B050"/>
                </a:solidFill>
                <a:cs typeface="Times New Roman" panose="02020603050405020304" pitchFamily="18" charset="0"/>
              </a:rPr>
              <a:t>Стало с 01.01.2019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5231" y="1206674"/>
            <a:ext cx="11853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  <a:cs typeface="Times New Roman" panose="02020603050405020304" pitchFamily="18" charset="0"/>
              </a:rPr>
              <a:t>Было: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35909" y="1565799"/>
            <a:ext cx="3974873" cy="59278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1</a:t>
            </a: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. Единая строка за «содержание ЖП» для жителей МКД, в </a:t>
            </a:r>
            <a:r>
              <a:rPr lang="ru-RU" sz="1200" dirty="0" err="1">
                <a:solidFill>
                  <a:schemeClr val="tx1"/>
                </a:solidFill>
                <a:cs typeface="Times New Roman" panose="02020603050405020304" pitchFamily="18" charset="0"/>
              </a:rPr>
              <a:t>т.ч</a:t>
            </a: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. услуга «вывоз мусора»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35909" y="2274556"/>
            <a:ext cx="3974873" cy="62430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2</a:t>
            </a: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. Отсутствие единого порядка определения стоимости услуги за вывоз мусор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35909" y="3014834"/>
            <a:ext cx="3991193" cy="70270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3.</a:t>
            </a: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 МКД – единица расчета платы – кв. метр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950977" y="1563812"/>
            <a:ext cx="3815324" cy="59277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Плата за «обращение с ТКО» выделена </a:t>
            </a:r>
            <a:b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отдельной строкой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950977" y="2273562"/>
            <a:ext cx="3815324" cy="62430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Регулируемый тариф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950977" y="3014834"/>
            <a:ext cx="3815324" cy="702707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МКД – единица расчета платы – кв. метр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271ED83F-7C50-4DBF-A65B-D60462EEA3C2}"/>
              </a:ext>
            </a:extLst>
          </p:cNvPr>
          <p:cNvGrpSpPr/>
          <p:nvPr/>
        </p:nvGrpSpPr>
        <p:grpSpPr>
          <a:xfrm>
            <a:off x="8379577" y="1704828"/>
            <a:ext cx="339957" cy="272064"/>
            <a:chOff x="5051058" y="1059160"/>
            <a:chExt cx="388938" cy="361950"/>
          </a:xfrm>
          <a:effectLst/>
        </p:grpSpPr>
        <p:sp>
          <p:nvSpPr>
            <p:cNvPr id="14" name="Rectangle 22">
              <a:extLst>
                <a:ext uri="{FF2B5EF4-FFF2-40B4-BE49-F238E27FC236}">
                  <a16:creationId xmlns:a16="http://schemas.microsoft.com/office/drawing/2014/main" xmlns="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Freeform 23">
              <a:extLst>
                <a:ext uri="{FF2B5EF4-FFF2-40B4-BE49-F238E27FC236}">
                  <a16:creationId xmlns:a16="http://schemas.microsoft.com/office/drawing/2014/main" xmlns="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271ED83F-7C50-4DBF-A65B-D60462EEA3C2}"/>
              </a:ext>
            </a:extLst>
          </p:cNvPr>
          <p:cNvGrpSpPr/>
          <p:nvPr/>
        </p:nvGrpSpPr>
        <p:grpSpPr>
          <a:xfrm>
            <a:off x="8379577" y="2432456"/>
            <a:ext cx="339957" cy="272064"/>
            <a:chOff x="5051058" y="1059160"/>
            <a:chExt cx="388938" cy="361950"/>
          </a:xfrm>
          <a:effectLst/>
        </p:grpSpPr>
        <p:sp>
          <p:nvSpPr>
            <p:cNvPr id="17" name="Rectangle 22">
              <a:extLst>
                <a:ext uri="{FF2B5EF4-FFF2-40B4-BE49-F238E27FC236}">
                  <a16:creationId xmlns:a16="http://schemas.microsoft.com/office/drawing/2014/main" xmlns="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Freeform 23">
              <a:extLst>
                <a:ext uri="{FF2B5EF4-FFF2-40B4-BE49-F238E27FC236}">
                  <a16:creationId xmlns:a16="http://schemas.microsoft.com/office/drawing/2014/main" xmlns="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xmlns="" id="{271ED83F-7C50-4DBF-A65B-D60462EEA3C2}"/>
              </a:ext>
            </a:extLst>
          </p:cNvPr>
          <p:cNvGrpSpPr/>
          <p:nvPr/>
        </p:nvGrpSpPr>
        <p:grpSpPr>
          <a:xfrm>
            <a:off x="8379577" y="3250208"/>
            <a:ext cx="339957" cy="272064"/>
            <a:chOff x="5051058" y="1059160"/>
            <a:chExt cx="388938" cy="361950"/>
          </a:xfrm>
          <a:effectLst/>
        </p:grpSpPr>
        <p:sp>
          <p:nvSpPr>
            <p:cNvPr id="20" name="Rectangle 22">
              <a:extLst>
                <a:ext uri="{FF2B5EF4-FFF2-40B4-BE49-F238E27FC236}">
                  <a16:creationId xmlns:a16="http://schemas.microsoft.com/office/drawing/2014/main" xmlns="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xmlns="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2" name="Стрелка вправо 21"/>
          <p:cNvSpPr/>
          <p:nvPr/>
        </p:nvSpPr>
        <p:spPr>
          <a:xfrm>
            <a:off x="4493554" y="3161586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4493554" y="2381112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cs typeface="Times New Roman" panose="02020603050405020304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35910" y="3873051"/>
            <a:ext cx="3991192" cy="6952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cs typeface="Times New Roman" panose="02020603050405020304" pitchFamily="18" charset="0"/>
              </a:rPr>
              <a:t>4</a:t>
            </a: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. ИЖС – начисления не производились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950977" y="3850531"/>
            <a:ext cx="3815324" cy="74027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 smtClean="0">
                <a:solidFill>
                  <a:schemeClr val="tx1"/>
                </a:solidFill>
                <a:cs typeface="Times New Roman" panose="02020603050405020304" pitchFamily="18" charset="0"/>
              </a:rPr>
              <a:t>Услугу </a:t>
            </a:r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оплачивают не только зарегистрированными жители, но и те, кто приезжают на выходные или заработать (из др. регионов)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xmlns="" id="{271ED83F-7C50-4DBF-A65B-D60462EEA3C2}"/>
              </a:ext>
            </a:extLst>
          </p:cNvPr>
          <p:cNvGrpSpPr/>
          <p:nvPr/>
        </p:nvGrpSpPr>
        <p:grpSpPr>
          <a:xfrm>
            <a:off x="8379577" y="4084638"/>
            <a:ext cx="339957" cy="272064"/>
            <a:chOff x="5051058" y="1059160"/>
            <a:chExt cx="388938" cy="361950"/>
          </a:xfrm>
          <a:effectLst/>
        </p:grpSpPr>
        <p:sp>
          <p:nvSpPr>
            <p:cNvPr id="27" name="Rectangle 22">
              <a:extLst>
                <a:ext uri="{FF2B5EF4-FFF2-40B4-BE49-F238E27FC236}">
                  <a16:creationId xmlns:a16="http://schemas.microsoft.com/office/drawing/2014/main" xmlns="" id="{D0B34A1B-3BD0-464C-BA81-61512A330D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:a16="http://schemas.microsoft.com/office/drawing/2014/main" xmlns="" id="{40F3CDFB-3856-4CA2-AD46-09E991D6FEC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2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9" name="Стрелка вправо 28"/>
          <p:cNvSpPr/>
          <p:nvPr/>
        </p:nvSpPr>
        <p:spPr>
          <a:xfrm>
            <a:off x="4493553" y="4016069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cs typeface="Times New Roman" panose="02020603050405020304" pitchFamily="18" charset="0"/>
            </a:endParaRPr>
          </a:p>
        </p:txBody>
      </p:sp>
      <p:sp>
        <p:nvSpPr>
          <p:cNvPr id="30" name="Заголовок 29">
            <a:extLst>
              <a:ext uri="{FF2B5EF4-FFF2-40B4-BE49-F238E27FC236}">
                <a16:creationId xmlns:a16="http://schemas.microsoft.com/office/drawing/2014/main" xmlns="" id="{17462D9A-7E22-7141-B152-112096181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664797"/>
          </a:xfrm>
        </p:spPr>
        <p:txBody>
          <a:bodyPr/>
          <a:lstStyle/>
          <a:p>
            <a:r>
              <a:rPr lang="ru-RU" dirty="0"/>
              <a:t>С 01.01.2019 обращение с ТКО теперь новая коммунальная услуга</a:t>
            </a:r>
          </a:p>
        </p:txBody>
      </p:sp>
    </p:spTree>
    <p:extLst>
      <p:ext uri="{BB962C8B-B14F-4D97-AF65-F5344CB8AC3E}">
        <p14:creationId xmlns:p14="http://schemas.microsoft.com/office/powerpoint/2010/main" val="474726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6B3B6E70-AD0A-0647-A5A2-5CFD85E6E1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53177"/>
              </p:ext>
            </p:extLst>
          </p:nvPr>
        </p:nvGraphicFramePr>
        <p:xfrm>
          <a:off x="1792249" y="1254318"/>
          <a:ext cx="5275888" cy="20969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95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762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1459">
                <a:tc>
                  <a:txBody>
                    <a:bodyPr/>
                    <a:lstStyle/>
                    <a:p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. Чеховский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МСК-НТ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7,57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4220">
                <a:tc>
                  <a:txBody>
                    <a:bodyPr/>
                    <a:lstStyle/>
                    <a:p>
                      <a:r>
                        <a:rPr lang="ru-RU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. Каширский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аширский РО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,32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4220">
                <a:tc>
                  <a:txBody>
                    <a:bodyPr/>
                    <a:lstStyle/>
                    <a:p>
                      <a:r>
                        <a:rPr lang="ru-RU" sz="1600" b="0" dirty="0">
                          <a:latin typeface="+mn-lt"/>
                          <a:cs typeface="Arial" panose="020B0604020202020204" pitchFamily="34" charset="0"/>
                        </a:rPr>
                        <a:t>3.</a:t>
                      </a:r>
                      <a:r>
                        <a:rPr lang="ru-RU" sz="1600" b="0" baseline="0" dirty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dirty="0">
                          <a:latin typeface="+mn-lt"/>
                          <a:cs typeface="Arial" panose="020B0604020202020204" pitchFamily="34" charset="0"/>
                        </a:rPr>
                        <a:t>Воскресенский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err="1">
                          <a:latin typeface="+mn-lt"/>
                          <a:cs typeface="Arial" panose="020B0604020202020204" pitchFamily="34" charset="0"/>
                        </a:rPr>
                        <a:t>Эколайн</a:t>
                      </a:r>
                      <a:r>
                        <a:rPr lang="ru-RU" sz="1600" b="0" dirty="0">
                          <a:latin typeface="+mn-lt"/>
                          <a:cs typeface="Arial" panose="020B0604020202020204" pitchFamily="34" charset="0"/>
                        </a:rPr>
                        <a:t>-Воскресенск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  <a:r>
                        <a:rPr lang="ru-RU" sz="1600" b="0" dirty="0"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600" b="0" dirty="0">
                          <a:latin typeface="+mn-lt"/>
                          <a:cs typeface="Arial" panose="020B0604020202020204" pitchFamily="34" charset="0"/>
                        </a:rPr>
                        <a:t>48</a:t>
                      </a:r>
                      <a:endParaRPr lang="ru-RU" sz="1600" b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145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.</a:t>
                      </a:r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Ногинский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Хартия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,03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4220">
                <a:tc>
                  <a:txBody>
                    <a:bodyPr/>
                    <a:lstStyle/>
                    <a:p>
                      <a:r>
                        <a:rPr lang="ru-RU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. </a:t>
                      </a:r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ергиево-Посадский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ергиево-Посадский РО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,23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1459">
                <a:tc>
                  <a:txBody>
                    <a:bodyPr/>
                    <a:lstStyle/>
                    <a:p>
                      <a:r>
                        <a:rPr lang="ru-RU" sz="1600" b="0" dirty="0">
                          <a:latin typeface="+mn-lt"/>
                          <a:cs typeface="Arial" panose="020B0604020202020204" pitchFamily="34" charset="0"/>
                        </a:rPr>
                        <a:t>6. Алексинский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dirty="0" err="1">
                          <a:latin typeface="+mn-lt"/>
                          <a:cs typeface="Arial" panose="020B0604020202020204" pitchFamily="34" charset="0"/>
                        </a:rPr>
                        <a:t>ЭкоПромСервис</a:t>
                      </a:r>
                      <a:r>
                        <a:rPr lang="ru-RU" sz="1600" b="0" dirty="0">
                          <a:latin typeface="+mn-lt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>
                          <a:latin typeface="+mn-lt"/>
                          <a:cs typeface="Arial" panose="020B0604020202020204" pitchFamily="34" charset="0"/>
                        </a:rPr>
                        <a:t>8,49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422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. Рузский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узский РО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,02</a:t>
                      </a:r>
                    </a:p>
                  </a:txBody>
                  <a:tcPr marL="55721" marR="55721" marT="27861" marB="27861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2BCC841-E487-584E-9198-848BDE72395A}"/>
              </a:ext>
            </a:extLst>
          </p:cNvPr>
          <p:cNvSpPr txBox="1"/>
          <p:nvPr/>
        </p:nvSpPr>
        <p:spPr>
          <a:xfrm>
            <a:off x="6806221" y="4927868"/>
            <a:ext cx="12157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1.01.2019 </a:t>
            </a:r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E3F3D240-D60A-8C4F-989F-17EB66B5622B}"/>
              </a:ext>
            </a:extLst>
          </p:cNvPr>
          <p:cNvSpPr/>
          <p:nvPr/>
        </p:nvSpPr>
        <p:spPr>
          <a:xfrm>
            <a:off x="1848437" y="670429"/>
            <a:ext cx="5114925" cy="38975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i="1" dirty="0">
                <a:solidFill>
                  <a:schemeClr val="tx1"/>
                </a:solidFill>
              </a:rPr>
              <a:t>Утвержденные тарифы РО ТКО по 7 кластерам 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xmlns="" id="{56B55833-BBC2-764D-96C3-A2635EE8D8D3}"/>
              </a:ext>
            </a:extLst>
          </p:cNvPr>
          <p:cNvSpPr/>
          <p:nvPr/>
        </p:nvSpPr>
        <p:spPr>
          <a:xfrm>
            <a:off x="1953212" y="3527947"/>
            <a:ext cx="5114925" cy="38975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220" algn="ctr"/>
            <a:r>
              <a:rPr lang="ru-RU" sz="1600" b="1" dirty="0">
                <a:cs typeface="Arial" panose="020B0604020202020204" pitchFamily="34" charset="0"/>
              </a:rPr>
              <a:t>Средний тариф РО ТКО – 8,00 руб./кв.м.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A5D18AED-75F5-AF40-AFE1-ADC819E5BF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арифы РО ТКО по кластерам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384034" y="4129275"/>
            <a:ext cx="6375931" cy="60746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i="1" dirty="0"/>
              <a:t>Узнать размер платы за вывоз ТКО можно с помощью калькулятора </a:t>
            </a:r>
            <a:br>
              <a:rPr lang="ru-RU" b="1" i="1" dirty="0"/>
            </a:br>
            <a:r>
              <a:rPr lang="en-US" b="1" i="1" dirty="0">
                <a:hlinkClick r:id="rId2"/>
              </a:rPr>
              <a:t>http://tbo.mosreg.ru/kalkulyator-rascheta-oplaty</a:t>
            </a:r>
            <a:r>
              <a:rPr lang="ru-RU" b="1" i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66237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1E613A9-D385-A842-927A-DE19EAD7D5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664797"/>
          </a:xfrm>
        </p:spPr>
        <p:txBody>
          <a:bodyPr/>
          <a:lstStyle/>
          <a:p>
            <a:r>
              <a:rPr lang="ru-RU" dirty="0"/>
              <a:t>Из чего состоит тариф регионального оператора </a:t>
            </a:r>
            <a:br>
              <a:rPr lang="ru-RU" dirty="0"/>
            </a:br>
            <a:r>
              <a:rPr lang="ru-RU" dirty="0"/>
              <a:t>(Рузский кластер)</a:t>
            </a: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xmlns="" id="{BA1357C2-05ED-D041-A670-8296CA3430F9}"/>
              </a:ext>
            </a:extLst>
          </p:cNvPr>
          <p:cNvSpPr/>
          <p:nvPr/>
        </p:nvSpPr>
        <p:spPr>
          <a:xfrm>
            <a:off x="425360" y="2073184"/>
            <a:ext cx="2538020" cy="89214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ирование</a:t>
            </a: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xmlns="" id="{B1D2B1D7-068F-F84E-B196-3CB20B510841}"/>
              </a:ext>
            </a:extLst>
          </p:cNvPr>
          <p:cNvSpPr/>
          <p:nvPr/>
        </p:nvSpPr>
        <p:spPr>
          <a:xfrm>
            <a:off x="3302990" y="2073184"/>
            <a:ext cx="2538020" cy="89214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ртировка</a:t>
            </a:r>
            <a:b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захоронение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xmlns="" id="{7919445F-6CA6-8C43-A57A-E73E36C808F9}"/>
              </a:ext>
            </a:extLst>
          </p:cNvPr>
          <p:cNvSpPr/>
          <p:nvPr/>
        </p:nvSpPr>
        <p:spPr>
          <a:xfrm>
            <a:off x="6180620" y="2073184"/>
            <a:ext cx="2538020" cy="89214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служивание договоров</a:t>
            </a:r>
            <a:b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банк, печать, доставка платежки и пр.)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97FCD837-E836-F644-805E-52F36B6E35ED}"/>
              </a:ext>
            </a:extLst>
          </p:cNvPr>
          <p:cNvSpPr/>
          <p:nvPr/>
        </p:nvSpPr>
        <p:spPr>
          <a:xfrm>
            <a:off x="3293465" y="1143000"/>
            <a:ext cx="2538020" cy="58685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,02 руб./м2 </a:t>
            </a:r>
            <a:b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949,56  куб./м3)</a:t>
            </a:r>
          </a:p>
        </p:txBody>
      </p:sp>
      <p:cxnSp>
        <p:nvCxnSpPr>
          <p:cNvPr id="9" name="Соединительная линия уступом 8">
            <a:extLst>
              <a:ext uri="{FF2B5EF4-FFF2-40B4-BE49-F238E27FC236}">
                <a16:creationId xmlns:a16="http://schemas.microsoft.com/office/drawing/2014/main" xmlns="" id="{CE38B0FF-8C06-5A45-A97E-AEB210429859}"/>
              </a:ext>
            </a:extLst>
          </p:cNvPr>
          <p:cNvCxnSpPr>
            <a:cxnSpLocks/>
            <a:stCxn id="7" idx="2"/>
            <a:endCxn id="4" idx="0"/>
          </p:cNvCxnSpPr>
          <p:nvPr/>
        </p:nvCxnSpPr>
        <p:spPr>
          <a:xfrm rot="5400000">
            <a:off x="2956756" y="467465"/>
            <a:ext cx="343334" cy="286810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11">
            <a:extLst>
              <a:ext uri="{FF2B5EF4-FFF2-40B4-BE49-F238E27FC236}">
                <a16:creationId xmlns:a16="http://schemas.microsoft.com/office/drawing/2014/main" xmlns="" id="{608D3022-FF13-B44F-BFD8-FE27B77F524D}"/>
              </a:ext>
            </a:extLst>
          </p:cNvPr>
          <p:cNvCxnSpPr>
            <a:cxnSpLocks/>
            <a:stCxn id="7" idx="2"/>
            <a:endCxn id="6" idx="0"/>
          </p:cNvCxnSpPr>
          <p:nvPr/>
        </p:nvCxnSpPr>
        <p:spPr>
          <a:xfrm rot="16200000" flipH="1">
            <a:off x="5834385" y="457939"/>
            <a:ext cx="343334" cy="288715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>
            <a:extLst>
              <a:ext uri="{FF2B5EF4-FFF2-40B4-BE49-F238E27FC236}">
                <a16:creationId xmlns:a16="http://schemas.microsoft.com/office/drawing/2014/main" xmlns="" id="{9B54EDBD-8388-1348-AB7A-69A135EC2ABE}"/>
              </a:ext>
            </a:extLst>
          </p:cNvPr>
          <p:cNvCxnSpPr>
            <a:cxnSpLocks/>
            <a:stCxn id="7" idx="2"/>
            <a:endCxn id="5" idx="0"/>
          </p:cNvCxnSpPr>
          <p:nvPr/>
        </p:nvCxnSpPr>
        <p:spPr>
          <a:xfrm rot="16200000" flipH="1">
            <a:off x="4395570" y="1896754"/>
            <a:ext cx="343334" cy="952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FD0BFF92-5960-734C-99A6-830C25EA9079}"/>
              </a:ext>
            </a:extLst>
          </p:cNvPr>
          <p:cNvSpPr/>
          <p:nvPr/>
        </p:nvSpPr>
        <p:spPr>
          <a:xfrm>
            <a:off x="639853" y="3143930"/>
            <a:ext cx="1868803" cy="54209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07 руб.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xmlns="" id="{74B83009-2B75-D744-89BE-6266FE375074}"/>
              </a:ext>
            </a:extLst>
          </p:cNvPr>
          <p:cNvSpPr/>
          <p:nvPr/>
        </p:nvSpPr>
        <p:spPr>
          <a:xfrm>
            <a:off x="3630735" y="3143930"/>
            <a:ext cx="1868803" cy="54209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45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98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xmlns="" id="{4F04EFA1-EB1F-AD4B-9D59-70F4F24909AB}"/>
              </a:ext>
            </a:extLst>
          </p:cNvPr>
          <p:cNvSpPr/>
          <p:nvPr/>
        </p:nvSpPr>
        <p:spPr>
          <a:xfrm>
            <a:off x="6515228" y="3143930"/>
            <a:ext cx="1868803" cy="54209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52 руб.</a:t>
            </a: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2F958CDC-6AA7-D549-8A08-4518459011BB}"/>
              </a:ext>
            </a:extLst>
          </p:cNvPr>
          <p:cNvSpPr/>
          <p:nvPr/>
        </p:nvSpPr>
        <p:spPr>
          <a:xfrm>
            <a:off x="639853" y="3782259"/>
            <a:ext cx="1868803" cy="54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,2%</a:t>
            </a: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xmlns="" id="{67E4C628-7BA8-3E40-A505-A7E0A8AF8B26}"/>
              </a:ext>
            </a:extLst>
          </p:cNvPr>
          <p:cNvSpPr/>
          <p:nvPr/>
        </p:nvSpPr>
        <p:spPr>
          <a:xfrm>
            <a:off x="3630735" y="3782259"/>
            <a:ext cx="1868803" cy="54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8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% </a:t>
            </a:r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ru-RU" sz="1800" b="1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 </a:t>
            </a:r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1C366EBF-4187-7D46-B8DF-2F479929071B}"/>
              </a:ext>
            </a:extLst>
          </p:cNvPr>
          <p:cNvSpPr/>
          <p:nvPr/>
        </p:nvSpPr>
        <p:spPr>
          <a:xfrm>
            <a:off x="6515228" y="3782259"/>
            <a:ext cx="1868803" cy="54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8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8%</a:t>
            </a:r>
          </a:p>
        </p:txBody>
      </p:sp>
    </p:spTree>
    <p:extLst>
      <p:ext uri="{BB962C8B-B14F-4D97-AF65-F5344CB8AC3E}">
        <p14:creationId xmlns:p14="http://schemas.microsoft.com/office/powerpoint/2010/main" val="35508097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xmlns="" id="{CDF0B3BF-0C8D-9C43-A7F0-F6EF377B12FE}"/>
              </a:ext>
            </a:extLst>
          </p:cNvPr>
          <p:cNvSpPr/>
          <p:nvPr/>
        </p:nvSpPr>
        <p:spPr>
          <a:xfrm>
            <a:off x="940182" y="1888931"/>
            <a:ext cx="2514583" cy="1365638"/>
          </a:xfrm>
          <a:prstGeom prst="roundRect">
            <a:avLst>
              <a:gd name="adj" fmla="val 11785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0232" rIns="0" bIns="40232" rtlCol="0" anchor="ctr"/>
          <a:lstStyle/>
          <a:p>
            <a:pPr algn="ctr"/>
            <a:r>
              <a:rPr lang="ru-RU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01.01.2019</a:t>
            </a:r>
          </a:p>
          <a:p>
            <a:pPr algn="ctr"/>
            <a:r>
              <a:rPr lang="ru-RU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АЕТСЯ</a:t>
            </a:r>
          </a:p>
          <a:p>
            <a:pPr algn="ctr"/>
            <a:r>
              <a:rPr lang="ru-RU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а за вывоз мусора* </a:t>
            </a:r>
            <a:r>
              <a:rPr lang="ru-RU" sz="1500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79 </a:t>
            </a:r>
            <a:r>
              <a:rPr lang="ru-RU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/кв.м. </a:t>
            </a:r>
          </a:p>
          <a:p>
            <a:pPr algn="ctr"/>
            <a:endParaRPr lang="ru-RU" sz="800" b="1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9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ая в 2018 г. средняя плата </a:t>
            </a:r>
            <a:br>
              <a:rPr lang="ru-RU" sz="9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услугу по вывозу мусора в МО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xmlns="" id="{8C9C82D4-0837-D448-A966-00E40C6FA712}"/>
              </a:ext>
            </a:extLst>
          </p:cNvPr>
          <p:cNvSpPr/>
          <p:nvPr/>
        </p:nvSpPr>
        <p:spPr>
          <a:xfrm>
            <a:off x="3853730" y="2050015"/>
            <a:ext cx="4446393" cy="901226"/>
          </a:xfrm>
          <a:prstGeom prst="roundRect">
            <a:avLst>
              <a:gd name="adj" fmla="val 9692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0232" rIns="0" bIns="40232" rtlCol="0" anchor="ctr"/>
          <a:lstStyle/>
          <a:p>
            <a:pPr algn="ctr"/>
            <a:r>
              <a:rPr lang="ru-RU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платы в 2019 г. составит 3,21 руб./</a:t>
            </a:r>
            <a:r>
              <a:rPr lang="ru-RU" b="1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5A54A4E-9308-D74C-B413-C50F0753A3F2}"/>
              </a:ext>
            </a:extLst>
          </p:cNvPr>
          <p:cNvSpPr txBox="1"/>
          <p:nvPr/>
        </p:nvSpPr>
        <p:spPr>
          <a:xfrm>
            <a:off x="1339147" y="3800630"/>
            <a:ext cx="6152076" cy="773747"/>
          </a:xfrm>
          <a:prstGeom prst="rect">
            <a:avLst/>
          </a:prstGeom>
          <a:noFill/>
        </p:spPr>
        <p:txBody>
          <a:bodyPr wrap="square" lIns="80465" tIns="40232" rIns="80465" bIns="40232" rtlCol="0">
            <a:spAutoFit/>
          </a:bodyPr>
          <a:lstStyle/>
          <a:p>
            <a:pPr marL="257175" indent="-257175" algn="just">
              <a:buFont typeface="Arial" panose="020B0604020202020204" pitchFamily="34" charset="0"/>
              <a:buChar char="•"/>
            </a:pPr>
            <a:r>
              <a:rPr lang="ru-RU" sz="1500" b="1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ый рост в ЕПД с 01.01.2019 составит 2,5%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ru-RU" sz="1500" b="1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о решение не увеличивать взносы на капитальный ремонт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945620" y="990378"/>
            <a:ext cx="2163097" cy="55060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тарифа для МКД</a:t>
            </a:r>
          </a:p>
        </p:txBody>
      </p:sp>
      <p:sp>
        <p:nvSpPr>
          <p:cNvPr id="10" name="Стрелка вправо 9"/>
          <p:cNvSpPr/>
          <p:nvPr/>
        </p:nvSpPr>
        <p:spPr>
          <a:xfrm>
            <a:off x="3249653" y="1056980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13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6FE6BB70-B77D-4047-98C6-AC4CECFCCBBC}"/>
              </a:ext>
            </a:extLst>
          </p:cNvPr>
          <p:cNvSpPr/>
          <p:nvPr/>
        </p:nvSpPr>
        <p:spPr>
          <a:xfrm>
            <a:off x="3853730" y="990378"/>
            <a:ext cx="4446393" cy="55060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51479" numCol="1" spcCol="44703" rtlCol="0" anchor="ctr">
            <a:noAutofit/>
          </a:bodyPr>
          <a:lstStyle/>
          <a:p>
            <a:pPr algn="ctr"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r>
              <a:rPr lang="ru-RU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а за вывоз ТКО (мес.) = Тариф (куб. м) х норматив х </a:t>
            </a:r>
            <a:r>
              <a:rPr lang="en-US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-RU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12 мес. 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D77F4D08-0B10-574C-A54C-BBE6901C0B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та за вывоз ТКО в МКД</a:t>
            </a:r>
          </a:p>
        </p:txBody>
      </p:sp>
    </p:spTree>
    <p:extLst>
      <p:ext uri="{BB962C8B-B14F-4D97-AF65-F5344CB8AC3E}">
        <p14:creationId xmlns:p14="http://schemas.microsoft.com/office/powerpoint/2010/main" val="38016575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xmlns="" id="{5546815B-08AA-8A4E-9A16-64B758704D50}"/>
              </a:ext>
            </a:extLst>
          </p:cNvPr>
          <p:cNvSpPr/>
          <p:nvPr/>
        </p:nvSpPr>
        <p:spPr>
          <a:xfrm>
            <a:off x="3657954" y="1091956"/>
            <a:ext cx="4905719" cy="722567"/>
          </a:xfrm>
          <a:prstGeom prst="roundRect">
            <a:avLst>
              <a:gd name="adj" fmla="val 11184"/>
            </a:avLst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51479" tIns="40232" rIns="80465" bIns="40232" anchor="ctr">
            <a:noAutofit/>
          </a:bodyPr>
          <a:lstStyle/>
          <a:p>
            <a:pPr algn="ctr"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endParaRPr lang="ru-RU" sz="1400" b="1" baseline="30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6FE6BB70-B77D-4047-98C6-AC4CECFCCBBC}"/>
              </a:ext>
            </a:extLst>
          </p:cNvPr>
          <p:cNvSpPr/>
          <p:nvPr/>
        </p:nvSpPr>
        <p:spPr>
          <a:xfrm>
            <a:off x="3931274" y="1359820"/>
            <a:ext cx="4376753" cy="18683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51479" numCol="1" spcCol="44703" rtlCol="0" anchor="ctr">
            <a:noAutofit/>
          </a:bodyPr>
          <a:lstStyle/>
          <a:p>
            <a:pPr algn="ctr"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r>
              <a:rPr lang="ru-RU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а за вывоз ТКО (</a:t>
            </a:r>
            <a:r>
              <a:rPr lang="ru-RU" sz="1400" b="1" i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с</a:t>
            </a:r>
            <a:r>
              <a:rPr lang="ru-RU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 = Тариф (куб. м) х норматив х кол-во членов/12 мес.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68314" y="1134946"/>
            <a:ext cx="2325822" cy="63658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чет тарифа для СНТ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2935071" y="1248638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xmlns="" id="{5546815B-08AA-8A4E-9A16-64B758704D50}"/>
              </a:ext>
            </a:extLst>
          </p:cNvPr>
          <p:cNvSpPr/>
          <p:nvPr/>
        </p:nvSpPr>
        <p:spPr>
          <a:xfrm>
            <a:off x="3657954" y="2122788"/>
            <a:ext cx="4905719" cy="722567"/>
          </a:xfrm>
          <a:prstGeom prst="roundRect">
            <a:avLst>
              <a:gd name="adj" fmla="val 11184"/>
            </a:avLst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51479" tIns="40232" rIns="80465" bIns="40232" anchor="ctr">
            <a:noAutofit/>
          </a:bodyPr>
          <a:lstStyle/>
          <a:p>
            <a:pPr algn="ctr"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endParaRPr lang="ru-RU" sz="1400" b="1" baseline="30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6FE6BB70-B77D-4047-98C6-AC4CECFCCBBC}"/>
              </a:ext>
            </a:extLst>
          </p:cNvPr>
          <p:cNvSpPr/>
          <p:nvPr/>
        </p:nvSpPr>
        <p:spPr>
          <a:xfrm>
            <a:off x="3931274" y="2390652"/>
            <a:ext cx="4376753" cy="18683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51479" numCol="1" spcCol="44703" rtlCol="0" anchor="ctr">
            <a:noAutofit/>
          </a:bodyPr>
          <a:lstStyle/>
          <a:p>
            <a:pPr algn="ctr"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r>
              <a:rPr lang="ru-RU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,76 м3 на 1 члена в год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68314" y="2149476"/>
            <a:ext cx="2325822" cy="66919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рматив</a:t>
            </a:r>
            <a:b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 учетом коэффициента сезонности)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Стрелка вправо 19"/>
          <p:cNvSpPr/>
          <p:nvPr/>
        </p:nvSpPr>
        <p:spPr>
          <a:xfrm>
            <a:off x="2935071" y="2279470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xmlns="" id="{5546815B-08AA-8A4E-9A16-64B758704D50}"/>
              </a:ext>
            </a:extLst>
          </p:cNvPr>
          <p:cNvSpPr/>
          <p:nvPr/>
        </p:nvSpPr>
        <p:spPr>
          <a:xfrm>
            <a:off x="3657953" y="3114777"/>
            <a:ext cx="4905719" cy="1278179"/>
          </a:xfrm>
          <a:prstGeom prst="roundRect">
            <a:avLst>
              <a:gd name="adj" fmla="val 11184"/>
            </a:avLst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51479" tIns="40232" rIns="80465" bIns="40232" anchor="ctr">
            <a:noAutofit/>
          </a:bodyPr>
          <a:lstStyle/>
          <a:p>
            <a:pPr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r>
              <a:rPr lang="ru-RU" sz="1400" b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Как его рассчитывают?</a:t>
            </a:r>
          </a:p>
          <a:p>
            <a:pPr marL="179388" indent="-179388">
              <a:spcBef>
                <a:spcPts val="43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Замеры проводятся на реальных площадках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в течение 4 сезонов</a:t>
            </a:r>
          </a:p>
          <a:p>
            <a:pPr marL="179388" indent="-179388">
              <a:spcBef>
                <a:spcPts val="43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Расчет среднего значения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9388" indent="-179388">
              <a:spcBef>
                <a:spcPts val="43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Коэффициент: зима + весна + лето + осень / 4</a:t>
            </a:r>
            <a:endParaRPr lang="ru-RU" sz="1400" b="1" baseline="30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68313" y="3227071"/>
            <a:ext cx="2325822" cy="66919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эффициент сезонности</a:t>
            </a:r>
          </a:p>
        </p:txBody>
      </p:sp>
      <p:sp>
        <p:nvSpPr>
          <p:cNvPr id="24" name="Стрелка вправо 23"/>
          <p:cNvSpPr/>
          <p:nvPr/>
        </p:nvSpPr>
        <p:spPr>
          <a:xfrm>
            <a:off x="2935070" y="3357065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D6F9C1A0-A0A5-C14E-992B-85A3F0EC21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та за вывоз ТКО в </a:t>
            </a:r>
            <a:r>
              <a:rPr lang="ru-RU" dirty="0" smtClean="0"/>
              <a:t>СН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0113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4A628ECA-79F7-EB4C-BF08-CD6956A93C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3455501"/>
              </p:ext>
            </p:extLst>
          </p:nvPr>
        </p:nvGraphicFramePr>
        <p:xfrm>
          <a:off x="953919" y="1935118"/>
          <a:ext cx="1369061" cy="2273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3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463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8910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8185">
                  <a:extLst>
                    <a:ext uri="{9D8B030D-6E8A-4147-A177-3AD203B41FA5}">
                      <a16:colId xmlns:a16="http://schemas.microsoft.com/office/drawing/2014/main" xmlns="" val="2236483589"/>
                    </a:ext>
                  </a:extLst>
                </a:gridCol>
              </a:tblGrid>
              <a:tr h="528980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833" marR="12833" marT="3714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900" b="1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еж </a:t>
                      </a:r>
                      <a:b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сяц</a:t>
                      </a:r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381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7898" marB="7898" anchor="b">
                    <a:lnL w="381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81512224"/>
                  </a:ext>
                </a:extLst>
              </a:tr>
              <a:tr h="294220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о 1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1-1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4220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1-2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4220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1-3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0274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51-4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4220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51-5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CB3BE129-B6E7-0748-A085-D1CC63F3C52B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</a:blip>
          <a:stretch>
            <a:fillRect/>
          </a:stretch>
        </p:blipFill>
        <p:spPr>
          <a:xfrm>
            <a:off x="1012514" y="2512205"/>
            <a:ext cx="179954" cy="187130"/>
          </a:xfrm>
          <a:prstGeom prst="rect">
            <a:avLst/>
          </a:prstGeom>
          <a:ln>
            <a:noFill/>
          </a:ln>
        </p:spPr>
      </p:pic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xmlns="" id="{5546815B-08AA-8A4E-9A16-64B758704D50}"/>
              </a:ext>
            </a:extLst>
          </p:cNvPr>
          <p:cNvSpPr/>
          <p:nvPr/>
        </p:nvSpPr>
        <p:spPr>
          <a:xfrm>
            <a:off x="3178394" y="748480"/>
            <a:ext cx="5561088" cy="1003038"/>
          </a:xfrm>
          <a:prstGeom prst="roundRect">
            <a:avLst>
              <a:gd name="adj" fmla="val 11184"/>
            </a:avLst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51479" tIns="40232" rIns="80465" bIns="40232" anchor="ctr">
            <a:noAutofit/>
          </a:bodyPr>
          <a:lstStyle/>
          <a:p>
            <a:pPr marL="158895" indent="-158895">
              <a:spcBef>
                <a:spcPts val="43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едоставить скидку в размере 30% для всех собственников ИЖС:</a:t>
            </a:r>
          </a:p>
          <a:p>
            <a:pPr algn="ctr"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endParaRPr lang="ru-RU" sz="1200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58895" indent="-158895">
              <a:spcBef>
                <a:spcPts val="430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о не более максимального размера платежа, который составляет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xmlns="" id="{51F383C8-7015-3040-9A53-1D29073DC8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682030"/>
              </p:ext>
            </p:extLst>
          </p:nvPr>
        </p:nvGraphicFramePr>
        <p:xfrm>
          <a:off x="2458865" y="2031328"/>
          <a:ext cx="1557235" cy="22279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249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421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387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821">
                  <a:extLst>
                    <a:ext uri="{9D8B030D-6E8A-4147-A177-3AD203B41FA5}">
                      <a16:colId xmlns:a16="http://schemas.microsoft.com/office/drawing/2014/main" xmlns="" val="2236483589"/>
                    </a:ext>
                  </a:extLst>
                </a:gridCol>
              </a:tblGrid>
              <a:tr h="443639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833" marR="12833" marT="3714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900" b="1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еж </a:t>
                      </a:r>
                      <a:b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сяц</a:t>
                      </a:r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381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7898" marB="7898" anchor="b">
                    <a:lnL w="381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81512224"/>
                  </a:ext>
                </a:extLst>
              </a:tr>
              <a:tr h="356862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51-6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6862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51-7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56862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1-8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6862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51-9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56862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51-1 0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11BB2F7-D70B-FE4A-A5B4-70E14A48475C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</a:blip>
          <a:stretch>
            <a:fillRect/>
          </a:stretch>
        </p:blipFill>
        <p:spPr>
          <a:xfrm>
            <a:off x="1012514" y="2796971"/>
            <a:ext cx="179954" cy="187130"/>
          </a:xfrm>
          <a:prstGeom prst="rect">
            <a:avLst/>
          </a:prstGeom>
          <a:ln>
            <a:noFill/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F3348B6-0F5D-E94C-8A44-DD68459E2808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</a:blip>
          <a:stretch>
            <a:fillRect/>
          </a:stretch>
        </p:blipFill>
        <p:spPr>
          <a:xfrm>
            <a:off x="1012514" y="3081737"/>
            <a:ext cx="179954" cy="187130"/>
          </a:xfrm>
          <a:prstGeom prst="rect">
            <a:avLst/>
          </a:prstGeom>
          <a:ln>
            <a:noFill/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FFBE471-A316-D449-8B73-570483560500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</a:blip>
          <a:stretch>
            <a:fillRect/>
          </a:stretch>
        </p:blipFill>
        <p:spPr>
          <a:xfrm>
            <a:off x="1012514" y="3366503"/>
            <a:ext cx="179954" cy="187130"/>
          </a:xfrm>
          <a:prstGeom prst="rect">
            <a:avLst/>
          </a:prstGeom>
          <a:ln>
            <a:noFill/>
          </a:ln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F04F746B-1DD8-A740-8C65-AEDF14D0DA7F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</a:blip>
          <a:stretch>
            <a:fillRect/>
          </a:stretch>
        </p:blipFill>
        <p:spPr>
          <a:xfrm>
            <a:off x="1012514" y="3651269"/>
            <a:ext cx="179954" cy="187130"/>
          </a:xfrm>
          <a:prstGeom prst="rect">
            <a:avLst/>
          </a:prstGeom>
          <a:ln>
            <a:noFill/>
          </a:ln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71C2CE58-3D54-784A-864F-949C21546D45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75000"/>
          </a:blip>
          <a:stretch>
            <a:fillRect/>
          </a:stretch>
        </p:blipFill>
        <p:spPr>
          <a:xfrm>
            <a:off x="2499844" y="2539759"/>
            <a:ext cx="203294" cy="223564"/>
          </a:xfrm>
          <a:prstGeom prst="rect">
            <a:avLst/>
          </a:prstGeom>
          <a:ln>
            <a:noFill/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114560D4-09E5-3D43-9313-0F10CCF924C6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75000"/>
          </a:blip>
          <a:stretch>
            <a:fillRect/>
          </a:stretch>
        </p:blipFill>
        <p:spPr>
          <a:xfrm>
            <a:off x="2499844" y="2890764"/>
            <a:ext cx="203294" cy="223564"/>
          </a:xfrm>
          <a:prstGeom prst="rect">
            <a:avLst/>
          </a:prstGeom>
          <a:ln>
            <a:noFill/>
          </a:ln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58FE913E-EAAC-FE41-A05D-6E8868BA5C52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75000"/>
          </a:blip>
          <a:stretch>
            <a:fillRect/>
          </a:stretch>
        </p:blipFill>
        <p:spPr>
          <a:xfrm>
            <a:off x="2499844" y="3236505"/>
            <a:ext cx="203294" cy="223564"/>
          </a:xfrm>
          <a:prstGeom prst="rect">
            <a:avLst/>
          </a:prstGeom>
          <a:ln>
            <a:noFill/>
          </a:ln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04714F25-E418-064D-B6D7-41B23F9DDC5E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75000"/>
          </a:blip>
          <a:stretch>
            <a:fillRect/>
          </a:stretch>
        </p:blipFill>
        <p:spPr>
          <a:xfrm>
            <a:off x="2499844" y="3605941"/>
            <a:ext cx="203294" cy="223564"/>
          </a:xfrm>
          <a:prstGeom prst="rect">
            <a:avLst/>
          </a:prstGeom>
          <a:ln>
            <a:noFill/>
          </a:ln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B928180D-0C5A-C04F-B18F-9C30FE425721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75000"/>
          </a:blip>
          <a:stretch>
            <a:fillRect/>
          </a:stretch>
        </p:blipFill>
        <p:spPr>
          <a:xfrm>
            <a:off x="2499844" y="3950590"/>
            <a:ext cx="203294" cy="223564"/>
          </a:xfrm>
          <a:prstGeom prst="rect">
            <a:avLst/>
          </a:prstGeom>
          <a:ln>
            <a:noFill/>
          </a:ln>
        </p:spPr>
      </p:pic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xmlns="" id="{E135D80C-026F-204E-90F2-763654F1CA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0497631"/>
              </p:ext>
            </p:extLst>
          </p:nvPr>
        </p:nvGraphicFramePr>
        <p:xfrm>
          <a:off x="4164847" y="1810820"/>
          <a:ext cx="1688138" cy="24469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9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661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2247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0505">
                  <a:extLst>
                    <a:ext uri="{9D8B030D-6E8A-4147-A177-3AD203B41FA5}">
                      <a16:colId xmlns:a16="http://schemas.microsoft.com/office/drawing/2014/main" xmlns="" val="2236483589"/>
                    </a:ext>
                  </a:extLst>
                </a:gridCol>
              </a:tblGrid>
              <a:tr h="667471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833" marR="12833" marT="3714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900" b="1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еж </a:t>
                      </a:r>
                      <a:b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сяц</a:t>
                      </a:r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381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7898" marB="7898" anchor="b">
                    <a:lnL w="381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81512224"/>
                  </a:ext>
                </a:extLst>
              </a:tr>
              <a:tr h="355891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051-1 1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5891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151-1 2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55891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251-1 3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5891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351-1 45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55891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501-1 6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xmlns="" id="{DBA651F4-05DC-4E46-90E3-4843EC7A3B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6847935"/>
              </p:ext>
            </p:extLst>
          </p:nvPr>
        </p:nvGraphicFramePr>
        <p:xfrm>
          <a:off x="5919378" y="1740197"/>
          <a:ext cx="1956796" cy="26038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00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7330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5313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0336">
                  <a:extLst>
                    <a:ext uri="{9D8B030D-6E8A-4147-A177-3AD203B41FA5}">
                      <a16:colId xmlns:a16="http://schemas.microsoft.com/office/drawing/2014/main" xmlns="" val="2236483589"/>
                    </a:ext>
                  </a:extLst>
                </a:gridCol>
              </a:tblGrid>
              <a:tr h="732118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833" marR="12833" marT="3714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</a:t>
                      </a:r>
                      <a:r>
                        <a:rPr lang="ru-RU" sz="900" b="1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еж </a:t>
                      </a:r>
                      <a:b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сяц</a:t>
                      </a:r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833" marR="12833" marT="7898" marB="37148" anchor="b">
                    <a:lnL w="381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531" marR="0" marT="7898" marB="7898" anchor="b">
                    <a:lnL w="381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81512224"/>
                  </a:ext>
                </a:extLst>
              </a:tr>
              <a:tr h="370541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601-1 7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659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701-1 8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5949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801-1 9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9274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 901-2 0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55296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ts val="148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001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и более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00</a:t>
                      </a:r>
                    </a:p>
                  </a:txBody>
                  <a:tcPr marL="60365" marR="60365" marT="37148" marB="37148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7531" marR="0" marT="37148" marB="7898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E701D49D-13D2-6C42-A711-DA9A074EDE38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4282262" y="2507252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7C16371D-BF45-AD41-9B73-7EA9928A0069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4282262" y="2875694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02711666-0471-684D-8202-AEA0A962E5E6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4282262" y="3235889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D73F9D92-CC7A-DB4C-A1AC-A13B799D1C36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4282262" y="3584032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F799DE13-E6A4-DA48-BADA-7E0863DEE6F5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4282262" y="3963428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54ADC75B-BB74-E748-B13C-ED39F247AA17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6055263" y="2526113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47681197-E9EB-FE44-8361-012D993CFB4C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6055263" y="2883223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65C61727-A734-F445-8663-17B828AEB2B7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6055263" y="3246644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E893CADC-BB0D-0F44-AF99-B0C10309AE1A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6055263" y="3605942"/>
            <a:ext cx="191128" cy="245474"/>
          </a:xfrm>
          <a:prstGeom prst="rect">
            <a:avLst/>
          </a:prstGeom>
          <a:ln>
            <a:noFill/>
          </a:ln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BDC33820-BA65-EA43-B0D8-2AFC7EBFC793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75000"/>
          </a:blip>
          <a:stretch>
            <a:fillRect/>
          </a:stretch>
        </p:blipFill>
        <p:spPr>
          <a:xfrm>
            <a:off x="6055263" y="3934757"/>
            <a:ext cx="191128" cy="245474"/>
          </a:xfrm>
          <a:prstGeom prst="rect">
            <a:avLst/>
          </a:prstGeom>
          <a:ln>
            <a:noFill/>
          </a:ln>
        </p:spPr>
      </p:pic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6FE6BB70-B77D-4047-98C6-AC4CECFCCBBC}"/>
              </a:ext>
            </a:extLst>
          </p:cNvPr>
          <p:cNvSpPr/>
          <p:nvPr/>
        </p:nvSpPr>
        <p:spPr>
          <a:xfrm>
            <a:off x="3412278" y="1172390"/>
            <a:ext cx="2611816" cy="155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0" tIns="0" rIns="0" bIns="51479" numCol="1" spcCol="44703" rtlCol="0" anchor="ctr">
            <a:noAutofit/>
          </a:bodyPr>
          <a:lstStyle/>
          <a:p>
            <a:pPr algn="ctr">
              <a:spcBef>
                <a:spcPts val="430"/>
              </a:spcBef>
              <a:buClr>
                <a:schemeClr val="accent6">
                  <a:lumMod val="75000"/>
                </a:schemeClr>
              </a:buClr>
            </a:pPr>
            <a:r>
              <a:rPr lang="ru-RU" sz="105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а за вывоз ТКО = Тариф* х </a:t>
            </a:r>
            <a:r>
              <a:rPr lang="en-US" sz="105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-RU" sz="105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х 0,7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526950B9-3890-F24B-8CBB-551F557EAB4B}"/>
              </a:ext>
            </a:extLst>
          </p:cNvPr>
          <p:cNvSpPr/>
          <p:nvPr/>
        </p:nvSpPr>
        <p:spPr>
          <a:xfrm>
            <a:off x="301140" y="4571529"/>
            <a:ext cx="5561088" cy="4022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4693"/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* Тариф без учета КГМ. Вывоз КГМ по заявкам и оплачивается отдельно </a:t>
            </a: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B9FB79AC-B2C1-9A45-A9B9-DFD52EFCB395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75000"/>
          </a:blip>
          <a:stretch>
            <a:fillRect/>
          </a:stretch>
        </p:blipFill>
        <p:spPr>
          <a:xfrm>
            <a:off x="1012514" y="3936038"/>
            <a:ext cx="179954" cy="187130"/>
          </a:xfrm>
          <a:prstGeom prst="rect">
            <a:avLst/>
          </a:prstGeom>
          <a:ln>
            <a:noFill/>
          </a:ln>
        </p:spPr>
      </p:pic>
      <p:sp>
        <p:nvSpPr>
          <p:cNvPr id="39" name="Заголовок 1">
            <a:extLst>
              <a:ext uri="{FF2B5EF4-FFF2-40B4-BE49-F238E27FC236}">
                <a16:creationId xmlns:a16="http://schemas.microsoft.com/office/drawing/2014/main" xmlns="" id="{4B9F09F3-E7CE-7B4D-9A38-11C9A4363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та за вывоз ТКО в ИЖС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358775" y="974696"/>
            <a:ext cx="2163097" cy="55060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тарифа для ИЖС</a:t>
            </a:r>
          </a:p>
        </p:txBody>
      </p:sp>
      <p:sp>
        <p:nvSpPr>
          <p:cNvPr id="43" name="Стрелка вправо 42"/>
          <p:cNvSpPr/>
          <p:nvPr/>
        </p:nvSpPr>
        <p:spPr>
          <a:xfrm>
            <a:off x="2662808" y="1045398"/>
            <a:ext cx="374650" cy="409202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63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13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645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4564C41-68CC-FE47-9BA5-63C5FD923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659" y="193162"/>
            <a:ext cx="8633012" cy="664797"/>
          </a:xfrm>
        </p:spPr>
        <p:txBody>
          <a:bodyPr/>
          <a:lstStyle/>
          <a:p>
            <a:r>
              <a:rPr lang="ru-RU" dirty="0"/>
              <a:t>2. Альтернативное правило предоставления скидки собственникам ИЖС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78A0F2EF-F621-2046-862E-2F0E8201E7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6550228" y="1631073"/>
            <a:ext cx="1450772" cy="1450772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EE032A46-FA07-A340-B35D-6CEDE384AF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4000564" y="1837983"/>
            <a:ext cx="1378943" cy="1177187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408ED51D-7A91-0148-8D2E-D6C8297CB1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2617416" y="2118475"/>
            <a:ext cx="785654" cy="785654"/>
          </a:xfrm>
          <a:prstGeom prst="rect">
            <a:avLst/>
          </a:prstGeom>
        </p:spPr>
      </p:pic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xmlns="" id="{152A25F2-B05F-F042-9D23-DB8A7C97FF59}"/>
              </a:ext>
            </a:extLst>
          </p:cNvPr>
          <p:cNvSpPr/>
          <p:nvPr/>
        </p:nvSpPr>
        <p:spPr>
          <a:xfrm>
            <a:off x="1408530" y="1038067"/>
            <a:ext cx="6332120" cy="694526"/>
          </a:xfrm>
          <a:prstGeom prst="roundRect">
            <a:avLst>
              <a:gd name="adj" fmla="val 11184"/>
            </a:avLst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58500" anchor="ctr">
            <a:noAutofit/>
          </a:bodyPr>
          <a:lstStyle/>
          <a:p>
            <a:pPr marL="180568" indent="-180568">
              <a:spcBef>
                <a:spcPts val="488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Вывоз ТКО по факту</a:t>
            </a:r>
            <a:endParaRPr lang="ru-RU" sz="1600" b="1" baseline="30000" dirty="0"/>
          </a:p>
          <a:p>
            <a:pPr marL="180568" indent="-180568">
              <a:spcBef>
                <a:spcPts val="488"/>
              </a:spcBef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Использование своих </a:t>
            </a:r>
            <a:r>
              <a:rPr lang="ru-RU" sz="1600" b="1" dirty="0" err="1">
                <a:solidFill>
                  <a:schemeClr val="accent6">
                    <a:lumMod val="50000"/>
                  </a:schemeClr>
                </a:solidFill>
              </a:rPr>
              <a:t>выкатных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 бачков</a:t>
            </a:r>
            <a:endParaRPr lang="ru-RU" sz="1138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xmlns="" id="{5C7F6997-754D-184F-9BEB-70BDCEC17938}"/>
              </a:ext>
            </a:extLst>
          </p:cNvPr>
          <p:cNvSpPr/>
          <p:nvPr/>
        </p:nvSpPr>
        <p:spPr>
          <a:xfrm>
            <a:off x="1454701" y="1155947"/>
            <a:ext cx="164549" cy="16454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>
            <a:defPPr>
              <a:defRPr lang="ru-RU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dirty="0"/>
              <a:t>1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C104E330-186B-3848-A61A-AA15153E3965}"/>
              </a:ext>
            </a:extLst>
          </p:cNvPr>
          <p:cNvSpPr/>
          <p:nvPr/>
        </p:nvSpPr>
        <p:spPr>
          <a:xfrm>
            <a:off x="1454701" y="1437379"/>
            <a:ext cx="164549" cy="164549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>
            <a:defPPr>
              <a:defRPr lang="ru-RU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dirty="0"/>
              <a:t>2</a:t>
            </a:r>
            <a:endParaRPr lang="ru-RU" sz="1600" b="1" dirty="0"/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xmlns="" id="{6CCF106D-BF71-334D-8B01-6CC0F72C44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934636"/>
              </p:ext>
            </p:extLst>
          </p:nvPr>
        </p:nvGraphicFramePr>
        <p:xfrm>
          <a:off x="1295400" y="2904129"/>
          <a:ext cx="7010397" cy="104368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13430">
                  <a:extLst>
                    <a:ext uri="{9D8B030D-6E8A-4147-A177-3AD203B41FA5}">
                      <a16:colId xmlns:a16="http://schemas.microsoft.com/office/drawing/2014/main" xmlns="" val="1677825469"/>
                    </a:ext>
                  </a:extLst>
                </a:gridCol>
                <a:gridCol w="829812">
                  <a:extLst>
                    <a:ext uri="{9D8B030D-6E8A-4147-A177-3AD203B41FA5}">
                      <a16:colId xmlns:a16="http://schemas.microsoft.com/office/drawing/2014/main" xmlns="" val="702514816"/>
                    </a:ext>
                  </a:extLst>
                </a:gridCol>
                <a:gridCol w="899547">
                  <a:extLst>
                    <a:ext uri="{9D8B030D-6E8A-4147-A177-3AD203B41FA5}">
                      <a16:colId xmlns:a16="http://schemas.microsoft.com/office/drawing/2014/main" xmlns="" val="3387521338"/>
                    </a:ext>
                  </a:extLst>
                </a:gridCol>
                <a:gridCol w="948360">
                  <a:extLst>
                    <a:ext uri="{9D8B030D-6E8A-4147-A177-3AD203B41FA5}">
                      <a16:colId xmlns:a16="http://schemas.microsoft.com/office/drawing/2014/main" xmlns="" val="1138037530"/>
                    </a:ext>
                  </a:extLst>
                </a:gridCol>
                <a:gridCol w="8298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981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298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2981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70959">
                <a:tc>
                  <a:txBody>
                    <a:bodyPr/>
                    <a:lstStyle/>
                    <a:p>
                      <a:pPr marL="7938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ывоз мусор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938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0 л.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938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0 л.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938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 л.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938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 л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938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0 л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938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0 л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938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00л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0539777"/>
                  </a:ext>
                </a:extLst>
              </a:tr>
              <a:tr h="218072">
                <a:tc>
                  <a:txBody>
                    <a:bodyPr/>
                    <a:lstStyle/>
                    <a:p>
                      <a:pPr marL="7938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06 м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11 м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12 м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24 м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36м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,8м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marR="0" lvl="0" indent="0" algn="r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1м</a:t>
                      </a:r>
                      <a:r>
                        <a:rPr lang="ru-RU" sz="16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8072">
                <a:tc>
                  <a:txBody>
                    <a:bodyPr/>
                    <a:lstStyle/>
                    <a:p>
                      <a:pPr marL="7938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теж*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4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4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8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2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60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938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44</a:t>
                      </a:r>
                    </a:p>
                  </a:txBody>
                  <a:tcPr marL="0" marR="20475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42941682"/>
                  </a:ext>
                </a:extLst>
              </a:tr>
            </a:tbl>
          </a:graphicData>
        </a:graphic>
      </p:graphicFrame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xmlns="" id="{932C3858-1F1F-9F4B-B9AB-5F18C79F8D3C}"/>
              </a:ext>
            </a:extLst>
          </p:cNvPr>
          <p:cNvSpPr/>
          <p:nvPr/>
        </p:nvSpPr>
        <p:spPr>
          <a:xfrm>
            <a:off x="1555750" y="4200745"/>
            <a:ext cx="6337299" cy="57737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i="1" dirty="0">
                <a:solidFill>
                  <a:schemeClr val="tx1"/>
                </a:solidFill>
              </a:rPr>
              <a:t>*Предельный платеж.</a:t>
            </a:r>
          </a:p>
          <a:p>
            <a:pPr algn="just"/>
            <a:r>
              <a:rPr lang="ru-RU" sz="1600" i="1" dirty="0">
                <a:solidFill>
                  <a:schemeClr val="tx1"/>
                </a:solidFill>
              </a:rPr>
              <a:t>Платеж по факту рассчитан исходя из утвержденного тарифа РО</a:t>
            </a:r>
          </a:p>
        </p:txBody>
      </p:sp>
    </p:spTree>
    <p:extLst>
      <p:ext uri="{BB962C8B-B14F-4D97-AF65-F5344CB8AC3E}">
        <p14:creationId xmlns:p14="http://schemas.microsoft.com/office/powerpoint/2010/main" val="1356210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368</TotalTime>
  <Words>1301</Words>
  <Application>Microsoft Office PowerPoint</Application>
  <PresentationFormat>Экран (16:9)</PresentationFormat>
  <Paragraphs>275</Paragraphs>
  <Slides>18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4" baseType="lpstr">
      <vt:lpstr>맑은 고딕</vt:lpstr>
      <vt:lpstr>Arial</vt:lpstr>
      <vt:lpstr>Calibri</vt:lpstr>
      <vt:lpstr>Open Sans Light</vt:lpstr>
      <vt:lpstr>Times New Roman</vt:lpstr>
      <vt:lpstr>Тема Office</vt:lpstr>
      <vt:lpstr>Тарифы региональных операторов в Московской области</vt:lpstr>
      <vt:lpstr>Региональные операторы по обращению с ТКО</vt:lpstr>
      <vt:lpstr>С 01.01.2019 обращение с ТКО теперь новая коммунальная услуга</vt:lpstr>
      <vt:lpstr>Тарифы РО ТКО по кластерам</vt:lpstr>
      <vt:lpstr>Из чего состоит тариф регионального оператора  (Рузский кластер)</vt:lpstr>
      <vt:lpstr>Плата за вывоз ТКО в МКД</vt:lpstr>
      <vt:lpstr>Плата за вывоз ТКО в СНТ</vt:lpstr>
      <vt:lpstr>Плата за вывоз ТКО в ИЖС</vt:lpstr>
      <vt:lpstr>2. Альтернативное правило предоставления скидки собственникам ИЖС</vt:lpstr>
      <vt:lpstr>3. Дополнительная скидка для жителей вблизи объектов обращения ТКО</vt:lpstr>
      <vt:lpstr>Плата жителей с 01.01.2019 за ЖКУ  на примере Волоколамского м.р.</vt:lpstr>
      <vt:lpstr>Плата жителей с 01.01.2019 за ЖКУ на примере г.о. Чехов</vt:lpstr>
      <vt:lpstr>Плата жителей с 01.01.2019 за ЖКУ на примере г.о. Балашиха</vt:lpstr>
      <vt:lpstr>Плата жителей с 01.01.2019 за ЖКУ на примере г.о. Дзержинский</vt:lpstr>
      <vt:lpstr>Плата жителей ИЖС с 01.01.2019 за обращение с ТКО</vt:lpstr>
      <vt:lpstr>Плата жителей ИЖС с 01.01.2019 за обращение с ТКО</vt:lpstr>
      <vt:lpstr>Принятые меры по снижению платы жителей за вывоз ТКО</vt:lpstr>
      <vt:lpstr>Что делать, если в большом доме проживает одинокий пенсионер?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технологии мусоропереработки</dc:title>
  <dc:creator>пользователь Microsoft Office</dc:creator>
  <cp:lastModifiedBy>Мун Наталья Евгеньевна</cp:lastModifiedBy>
  <cp:revision>428</cp:revision>
  <cp:lastPrinted>2019-02-26T19:12:02Z</cp:lastPrinted>
  <dcterms:created xsi:type="dcterms:W3CDTF">2018-04-11T13:21:49Z</dcterms:created>
  <dcterms:modified xsi:type="dcterms:W3CDTF">2019-02-27T06:57:40Z</dcterms:modified>
</cp:coreProperties>
</file>